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7" r:id="rId1"/>
  </p:sldMasterIdLst>
  <p:sldIdLst>
    <p:sldId id="258" r:id="rId2"/>
    <p:sldId id="265" r:id="rId3"/>
    <p:sldId id="266" r:id="rId4"/>
    <p:sldId id="257" r:id="rId5"/>
    <p:sldId id="260" r:id="rId6"/>
    <p:sldId id="261" r:id="rId7"/>
    <p:sldId id="264" r:id="rId8"/>
    <p:sldId id="263" r:id="rId9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047">
          <p15:clr>
            <a:srgbClr val="A4A3A4"/>
          </p15:clr>
        </p15:guide>
        <p15:guide id="12" orient="horz" pos="1593">
          <p15:clr>
            <a:srgbClr val="A4A3A4"/>
          </p15:clr>
        </p15:guide>
        <p15:guide id="13" orient="horz" pos="2568">
          <p15:clr>
            <a:srgbClr val="A4A3A4"/>
          </p15:clr>
        </p15:guide>
        <p15:guide id="14" orient="horz" pos="3072">
          <p15:clr>
            <a:srgbClr val="A4A3A4"/>
          </p15:clr>
        </p15:guide>
        <p15:guide id="15" orient="horz" pos="35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80FF95-60A4-4D9A-A223-7BDF43889D65}" v="132" dt="2022-06-07T00:21:19.9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660"/>
  </p:normalViewPr>
  <p:slideViewPr>
    <p:cSldViewPr snapToGrid="0">
      <p:cViewPr varScale="1">
        <p:scale>
          <a:sx n="97" d="100"/>
          <a:sy n="97" d="100"/>
        </p:scale>
        <p:origin x="84" y="90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jornsson, Jóhann Bjorn" userId="3324117d-b910-41f3-b11d-6944a01262fa" providerId="ADAL" clId="{4680FF95-60A4-4D9A-A223-7BDF43889D65}"/>
    <pc:docChg chg="undo redo custSel addSld delSld modSld modMainMaster">
      <pc:chgData name="Bjornsson, Jóhann Bjorn" userId="3324117d-b910-41f3-b11d-6944a01262fa" providerId="ADAL" clId="{4680FF95-60A4-4D9A-A223-7BDF43889D65}" dt="2022-06-07T00:38:56.751" v="756" actId="1076"/>
      <pc:docMkLst>
        <pc:docMk/>
      </pc:docMkLst>
      <pc:sldChg chg="addSp delSp modSp mod modTransition">
        <pc:chgData name="Bjornsson, Jóhann Bjorn" userId="3324117d-b910-41f3-b11d-6944a01262fa" providerId="ADAL" clId="{4680FF95-60A4-4D9A-A223-7BDF43889D65}" dt="2022-06-07T00:38:56.751" v="756" actId="1076"/>
        <pc:sldMkLst>
          <pc:docMk/>
          <pc:sldMk cId="2128354429" sldId="257"/>
        </pc:sldMkLst>
        <pc:spChg chg="mod">
          <ac:chgData name="Bjornsson, Jóhann Bjorn" userId="3324117d-b910-41f3-b11d-6944a01262fa" providerId="ADAL" clId="{4680FF95-60A4-4D9A-A223-7BDF43889D65}" dt="2022-06-07T00:37:50.169" v="732" actId="14100"/>
          <ac:spMkLst>
            <pc:docMk/>
            <pc:sldMk cId="2128354429" sldId="257"/>
            <ac:spMk id="7" creationId="{E91747D0-6D88-41E3-994E-F8DC627FA9A6}"/>
          </ac:spMkLst>
        </pc:spChg>
        <pc:spChg chg="mod topLvl">
          <ac:chgData name="Bjornsson, Jóhann Bjorn" userId="3324117d-b910-41f3-b11d-6944a01262fa" providerId="ADAL" clId="{4680FF95-60A4-4D9A-A223-7BDF43889D65}" dt="2022-06-07T00:21:17.739" v="712" actId="164"/>
          <ac:spMkLst>
            <pc:docMk/>
            <pc:sldMk cId="2128354429" sldId="257"/>
            <ac:spMk id="21" creationId="{C552D86B-CAFF-48AC-A846-394B48243B3C}"/>
          </ac:spMkLst>
        </pc:spChg>
        <pc:spChg chg="add del">
          <ac:chgData name="Bjornsson, Jóhann Bjorn" userId="3324117d-b910-41f3-b11d-6944a01262fa" providerId="ADAL" clId="{4680FF95-60A4-4D9A-A223-7BDF43889D65}" dt="2022-06-07T00:12:27.238" v="624" actId="478"/>
          <ac:spMkLst>
            <pc:docMk/>
            <pc:sldMk cId="2128354429" sldId="257"/>
            <ac:spMk id="23" creationId="{26703C1B-C76E-4477-A27B-F331069AF4E2}"/>
          </ac:spMkLst>
        </pc:spChg>
        <pc:spChg chg="del mod topLvl">
          <ac:chgData name="Bjornsson, Jóhann Bjorn" userId="3324117d-b910-41f3-b11d-6944a01262fa" providerId="ADAL" clId="{4680FF95-60A4-4D9A-A223-7BDF43889D65}" dt="2022-06-07T00:20:18.568" v="693" actId="478"/>
          <ac:spMkLst>
            <pc:docMk/>
            <pc:sldMk cId="2128354429" sldId="257"/>
            <ac:spMk id="24" creationId="{E9749ED6-12B5-43E7-9556-B7EA8FE3CCC2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5" creationId="{F0BAB5AA-9493-4F42-BED7-9EB2FF54241D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6" creationId="{460A3323-9E7F-42C2-AA95-AE0CAFA1B0D9}"/>
          </ac:spMkLst>
        </pc:spChg>
        <pc:spChg chg="mod topLvl">
          <ac:chgData name="Bjornsson, Jóhann Bjorn" userId="3324117d-b910-41f3-b11d-6944a01262fa" providerId="ADAL" clId="{4680FF95-60A4-4D9A-A223-7BDF43889D65}" dt="2022-06-07T00:21:09.800" v="711" actId="164"/>
          <ac:spMkLst>
            <pc:docMk/>
            <pc:sldMk cId="2128354429" sldId="257"/>
            <ac:spMk id="27" creationId="{C22D0508-E87B-4103-BB96-0147AF028CF7}"/>
          </ac:spMkLst>
        </pc:spChg>
        <pc:spChg chg="mod">
          <ac:chgData name="Bjornsson, Jóhann Bjorn" userId="3324117d-b910-41f3-b11d-6944a01262fa" providerId="ADAL" clId="{4680FF95-60A4-4D9A-A223-7BDF43889D65}" dt="2022-06-07T00:11:09.152" v="609" actId="20577"/>
          <ac:spMkLst>
            <pc:docMk/>
            <pc:sldMk cId="2128354429" sldId="257"/>
            <ac:spMk id="31" creationId="{F0C1CC7D-BD2E-4874-955D-7D151A9FE6F7}"/>
          </ac:spMkLst>
        </pc:spChg>
        <pc:spChg chg="add del">
          <ac:chgData name="Bjornsson, Jóhann Bjorn" userId="3324117d-b910-41f3-b11d-6944a01262fa" providerId="ADAL" clId="{4680FF95-60A4-4D9A-A223-7BDF43889D65}" dt="2022-06-07T00:12:24.155" v="623" actId="478"/>
          <ac:spMkLst>
            <pc:docMk/>
            <pc:sldMk cId="2128354429" sldId="257"/>
            <ac:spMk id="33" creationId="{6667CD56-9FF7-4BB1-8C88-C8A880A27467}"/>
          </ac:spMkLst>
        </pc:spChg>
        <pc:spChg chg="del mod">
          <ac:chgData name="Bjornsson, Jóhann Bjorn" userId="3324117d-b910-41f3-b11d-6944a01262fa" providerId="ADAL" clId="{4680FF95-60A4-4D9A-A223-7BDF43889D65}" dt="2022-06-07T00:15:18.664" v="649" actId="478"/>
          <ac:spMkLst>
            <pc:docMk/>
            <pc:sldMk cId="2128354429" sldId="257"/>
            <ac:spMk id="37" creationId="{F705859A-49B3-4281-8511-FD4B50E192FC}"/>
          </ac:spMkLst>
        </pc:spChg>
        <pc:spChg chg="del">
          <ac:chgData name="Bjornsson, Jóhann Bjorn" userId="3324117d-b910-41f3-b11d-6944a01262fa" providerId="ADAL" clId="{4680FF95-60A4-4D9A-A223-7BDF43889D65}" dt="2022-06-07T00:11:21.306" v="612" actId="478"/>
          <ac:spMkLst>
            <pc:docMk/>
            <pc:sldMk cId="2128354429" sldId="257"/>
            <ac:spMk id="40" creationId="{A3A49ED5-C8BC-473C-AB5E-FCFC4385B555}"/>
          </ac:spMkLst>
        </pc:spChg>
        <pc:spChg chg="mod">
          <ac:chgData name="Bjornsson, Jóhann Bjorn" userId="3324117d-b910-41f3-b11d-6944a01262fa" providerId="ADAL" clId="{4680FF95-60A4-4D9A-A223-7BDF43889D65}" dt="2022-06-07T00:38:51.103" v="753" actId="1076"/>
          <ac:spMkLst>
            <pc:docMk/>
            <pc:sldMk cId="2128354429" sldId="257"/>
            <ac:spMk id="49" creationId="{B1E87A33-B1D5-47BC-8009-04B61ED16609}"/>
          </ac:spMkLst>
        </pc:spChg>
        <pc:spChg chg="mod">
          <ac:chgData name="Bjornsson, Jóhann Bjorn" userId="3324117d-b910-41f3-b11d-6944a01262fa" providerId="ADAL" clId="{4680FF95-60A4-4D9A-A223-7BDF43889D65}" dt="2022-06-07T00:38:48.322" v="752" actId="1076"/>
          <ac:spMkLst>
            <pc:docMk/>
            <pc:sldMk cId="2128354429" sldId="257"/>
            <ac:spMk id="50" creationId="{4D8439DF-47D7-493E-BE6E-CFED61E43156}"/>
          </ac:spMkLst>
        </pc:spChg>
        <pc:spChg chg="del">
          <ac:chgData name="Bjornsson, Jóhann Bjorn" userId="3324117d-b910-41f3-b11d-6944a01262fa" providerId="ADAL" clId="{4680FF95-60A4-4D9A-A223-7BDF43889D65}" dt="2022-06-07T00:21:29.040" v="716" actId="478"/>
          <ac:spMkLst>
            <pc:docMk/>
            <pc:sldMk cId="2128354429" sldId="257"/>
            <ac:spMk id="52" creationId="{A2B0DE2A-60CA-4C22-B0BD-00499A0A30FE}"/>
          </ac:spMkLst>
        </pc:spChg>
        <pc:spChg chg="mod">
          <ac:chgData name="Bjornsson, Jóhann Bjorn" userId="3324117d-b910-41f3-b11d-6944a01262fa" providerId="ADAL" clId="{4680FF95-60A4-4D9A-A223-7BDF43889D65}" dt="2022-06-07T00:17:39.310" v="674" actId="1076"/>
          <ac:spMkLst>
            <pc:docMk/>
            <pc:sldMk cId="2128354429" sldId="257"/>
            <ac:spMk id="55" creationId="{0ACE5573-7789-4299-957C-E2A3BE9AAAA0}"/>
          </ac:spMkLst>
        </pc:spChg>
        <pc:spChg chg="add mod topLvl">
          <ac:chgData name="Bjornsson, Jóhann Bjorn" userId="3324117d-b910-41f3-b11d-6944a01262fa" providerId="ADAL" clId="{4680FF95-60A4-4D9A-A223-7BDF43889D65}" dt="2022-06-07T00:21:19.912" v="713" actId="164"/>
          <ac:spMkLst>
            <pc:docMk/>
            <pc:sldMk cId="2128354429" sldId="257"/>
            <ac:spMk id="56" creationId="{B603C23D-D622-484A-8DD8-10F958F44146}"/>
          </ac:spMkLst>
        </pc:spChg>
        <pc:spChg chg="add mod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7" creationId="{8E1546DF-C754-48FF-97B6-1F92A9895628}"/>
          </ac:spMkLst>
        </pc:spChg>
        <pc:spChg chg="add mod topLvl">
          <ac:chgData name="Bjornsson, Jóhann Bjorn" userId="3324117d-b910-41f3-b11d-6944a01262fa" providerId="ADAL" clId="{4680FF95-60A4-4D9A-A223-7BDF43889D65}" dt="2022-06-07T00:16:23.559" v="661" actId="164"/>
          <ac:spMkLst>
            <pc:docMk/>
            <pc:sldMk cId="2128354429" sldId="257"/>
            <ac:spMk id="58" creationId="{4BE60CB1-43B1-4F56-BEFF-7B69CCDF221A}"/>
          </ac:spMkLst>
        </pc:spChg>
        <pc:spChg chg="del">
          <ac:chgData name="Bjornsson, Jóhann Bjorn" userId="3324117d-b910-41f3-b11d-6944a01262fa" providerId="ADAL" clId="{4680FF95-60A4-4D9A-A223-7BDF43889D65}" dt="2022-05-11T15:58:24.767" v="594" actId="478"/>
          <ac:spMkLst>
            <pc:docMk/>
            <pc:sldMk cId="2128354429" sldId="257"/>
            <ac:spMk id="60" creationId="{7FD3C517-45C4-49FB-B6D4-788084D9DC00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1" creationId="{9534B4A0-8BBD-4D70-85BF-D7F87BC97818}"/>
          </ac:spMkLst>
        </pc:spChg>
        <pc:spChg chg="mod">
          <ac:chgData name="Bjornsson, Jóhann Bjorn" userId="3324117d-b910-41f3-b11d-6944a01262fa" providerId="ADAL" clId="{4680FF95-60A4-4D9A-A223-7BDF43889D65}" dt="2022-06-07T00:16:28.576" v="663" actId="571"/>
          <ac:spMkLst>
            <pc:docMk/>
            <pc:sldMk cId="2128354429" sldId="257"/>
            <ac:spMk id="63" creationId="{1F18EFF9-AC21-4EDD-BFAD-96488D6F9115}"/>
          </ac:spMkLst>
        </pc:spChg>
        <pc:spChg chg="mod">
          <ac:chgData name="Bjornsson, Jóhann Bjorn" userId="3324117d-b910-41f3-b11d-6944a01262fa" providerId="ADAL" clId="{4680FF95-60A4-4D9A-A223-7BDF43889D65}" dt="2022-05-11T15:57:42.532" v="593" actId="1076"/>
          <ac:spMkLst>
            <pc:docMk/>
            <pc:sldMk cId="2128354429" sldId="257"/>
            <ac:spMk id="63" creationId="{8DD5A159-BAE5-4641-9102-AB3570BF7945}"/>
          </ac:spMkLst>
        </pc:spChg>
        <pc:spChg chg="mod">
          <ac:chgData name="Bjornsson, Jóhann Bjorn" userId="3324117d-b910-41f3-b11d-6944a01262fa" providerId="ADAL" clId="{4680FF95-60A4-4D9A-A223-7BDF43889D65}" dt="2022-06-07T00:21:45.926" v="721" actId="1076"/>
          <ac:spMkLst>
            <pc:docMk/>
            <pc:sldMk cId="2128354429" sldId="257"/>
            <ac:spMk id="64" creationId="{7856B235-2F4D-46CD-83DD-C63BEA79F723}"/>
          </ac:spMkLst>
        </pc:spChg>
        <pc:spChg chg="mod">
          <ac:chgData name="Bjornsson, Jóhann Bjorn" userId="3324117d-b910-41f3-b11d-6944a01262fa" providerId="ADAL" clId="{4680FF95-60A4-4D9A-A223-7BDF43889D65}" dt="2022-06-07T00:38:56.751" v="756" actId="1076"/>
          <ac:spMkLst>
            <pc:docMk/>
            <pc:sldMk cId="2128354429" sldId="257"/>
            <ac:spMk id="67" creationId="{93587449-5A43-4B6F-980C-14E6533E7F54}"/>
          </ac:spMkLst>
        </pc:spChg>
        <pc:spChg chg="mod">
          <ac:chgData name="Bjornsson, Jóhann Bjorn" userId="3324117d-b910-41f3-b11d-6944a01262fa" providerId="ADAL" clId="{4680FF95-60A4-4D9A-A223-7BDF43889D65}" dt="2022-06-07T00:38:06.268" v="738" actId="14100"/>
          <ac:spMkLst>
            <pc:docMk/>
            <pc:sldMk cId="2128354429" sldId="257"/>
            <ac:spMk id="69" creationId="{5685EF64-A6AA-4E07-A6A6-4B1AB703DC11}"/>
          </ac:spMkLst>
        </pc:spChg>
        <pc:spChg chg="mod">
          <ac:chgData name="Bjornsson, Jóhann Bjorn" userId="3324117d-b910-41f3-b11d-6944a01262fa" providerId="ADAL" clId="{4680FF95-60A4-4D9A-A223-7BDF43889D65}" dt="2022-06-07T00:16:31.972" v="664" actId="571"/>
          <ac:spMkLst>
            <pc:docMk/>
            <pc:sldMk cId="2128354429" sldId="257"/>
            <ac:spMk id="71" creationId="{8CC83351-E60D-44B8-B777-384F5E793547}"/>
          </ac:spMkLst>
        </pc:spChg>
        <pc:spChg chg="del">
          <ac:chgData name="Bjornsson, Jóhann Bjorn" userId="3324117d-b910-41f3-b11d-6944a01262fa" providerId="ADAL" clId="{4680FF95-60A4-4D9A-A223-7BDF43889D65}" dt="2022-06-07T00:11:53.955" v="616" actId="478"/>
          <ac:spMkLst>
            <pc:docMk/>
            <pc:sldMk cId="2128354429" sldId="257"/>
            <ac:spMk id="76" creationId="{83C6DEC7-6090-4E0C-B833-2CF241C28C94}"/>
          </ac:spMkLst>
        </pc:spChg>
        <pc:spChg chg="del">
          <ac:chgData name="Bjornsson, Jóhann Bjorn" userId="3324117d-b910-41f3-b11d-6944a01262fa" providerId="ADAL" clId="{4680FF95-60A4-4D9A-A223-7BDF43889D65}" dt="2022-06-07T00:11:20.107" v="611" actId="478"/>
          <ac:spMkLst>
            <pc:docMk/>
            <pc:sldMk cId="2128354429" sldId="257"/>
            <ac:spMk id="77" creationId="{9A7D3EE4-1360-4E6D-97AE-905E55B0843D}"/>
          </ac:spMkLst>
        </pc:spChg>
        <pc:grpChg chg="add del mod">
          <ac:chgData name="Bjornsson, Jóhann Bjorn" userId="3324117d-b910-41f3-b11d-6944a01262fa" providerId="ADAL" clId="{4680FF95-60A4-4D9A-A223-7BDF43889D65}" dt="2022-06-07T00:15:51.844" v="658" actId="165"/>
          <ac:grpSpMkLst>
            <pc:docMk/>
            <pc:sldMk cId="2128354429" sldId="257"/>
            <ac:grpSpMk id="5" creationId="{C67BECAB-964E-4E66-A88E-50D812F7722D}"/>
          </ac:grpSpMkLst>
        </pc:grpChg>
        <pc:grpChg chg="mod">
          <ac:chgData name="Bjornsson, Jóhann Bjorn" userId="3324117d-b910-41f3-b11d-6944a01262fa" providerId="ADAL" clId="{4680FF95-60A4-4D9A-A223-7BDF43889D65}" dt="2022-06-07T00:37:44.732" v="731" actId="14100"/>
          <ac:grpSpMkLst>
            <pc:docMk/>
            <pc:sldMk cId="2128354429" sldId="257"/>
            <ac:grpSpMk id="6" creationId="{E97F0E8F-D514-4706-B78D-FF24D2BB2A97}"/>
          </ac:grpSpMkLst>
        </pc:grpChg>
        <pc:grpChg chg="add mod">
          <ac:chgData name="Bjornsson, Jóhann Bjorn" userId="3324117d-b910-41f3-b11d-6944a01262fa" providerId="ADAL" clId="{4680FF95-60A4-4D9A-A223-7BDF43889D65}" dt="2022-06-07T00:38:29.651" v="750" actId="1076"/>
          <ac:grpSpMkLst>
            <pc:docMk/>
            <pc:sldMk cId="2128354429" sldId="257"/>
            <ac:grpSpMk id="9" creationId="{30DA156D-0353-4348-9AB2-CB08612A7122}"/>
          </ac:grpSpMkLst>
        </pc:grpChg>
        <pc:grpChg chg="add mod">
          <ac:chgData name="Bjornsson, Jóhann Bjorn" userId="3324117d-b910-41f3-b11d-6944a01262fa" providerId="ADAL" clId="{4680FF95-60A4-4D9A-A223-7BDF43889D65}" dt="2022-06-07T00:20:39.481" v="700" actId="164"/>
          <ac:grpSpMkLst>
            <pc:docMk/>
            <pc:sldMk cId="2128354429" sldId="257"/>
            <ac:grpSpMk id="19" creationId="{5F740CC3-9B7F-4EF0-9E0E-CBAA2B30124E}"/>
          </ac:grpSpMkLst>
        </pc:grpChg>
        <pc:grpChg chg="add del mod topLvl">
          <ac:chgData name="Bjornsson, Jóhann Bjorn" userId="3324117d-b910-41f3-b11d-6944a01262fa" providerId="ADAL" clId="{4680FF95-60A4-4D9A-A223-7BDF43889D65}" dt="2022-06-07T00:16:08.440" v="659" actId="165"/>
          <ac:grpSpMkLst>
            <pc:docMk/>
            <pc:sldMk cId="2128354429" sldId="257"/>
            <ac:grpSpMk id="20" creationId="{CF39A91E-9AD7-426C-8ACA-C7CC48338889}"/>
          </ac:grpSpMkLst>
        </pc:grpChg>
        <pc:grpChg chg="del mod topLvl">
          <ac:chgData name="Bjornsson, Jóhann Bjorn" userId="3324117d-b910-41f3-b11d-6944a01262fa" providerId="ADAL" clId="{4680FF95-60A4-4D9A-A223-7BDF43889D65}" dt="2022-06-07T00:16:15.929" v="660" actId="165"/>
          <ac:grpSpMkLst>
            <pc:docMk/>
            <pc:sldMk cId="2128354429" sldId="257"/>
            <ac:grpSpMk id="22" creationId="{E0A00D2C-5D72-4AD6-840E-631CE8096E73}"/>
          </ac:grpSpMkLst>
        </pc:grpChg>
        <pc:grpChg chg="del mod">
          <ac:chgData name="Bjornsson, Jóhann Bjorn" userId="3324117d-b910-41f3-b11d-6944a01262fa" providerId="ADAL" clId="{4680FF95-60A4-4D9A-A223-7BDF43889D65}" dt="2022-06-07T00:15:22.004" v="650" actId="478"/>
          <ac:grpSpMkLst>
            <pc:docMk/>
            <pc:sldMk cId="2128354429" sldId="257"/>
            <ac:grpSpMk id="30" creationId="{DF6F6818-A58E-4B4C-9D97-971ADE274577}"/>
          </ac:grpSpMkLst>
        </pc:grpChg>
        <pc:grpChg chg="del">
          <ac:chgData name="Bjornsson, Jóhann Bjorn" userId="3324117d-b910-41f3-b11d-6944a01262fa" providerId="ADAL" clId="{4680FF95-60A4-4D9A-A223-7BDF43889D65}" dt="2022-06-07T00:11:28.680" v="613" actId="478"/>
          <ac:grpSpMkLst>
            <pc:docMk/>
            <pc:sldMk cId="2128354429" sldId="257"/>
            <ac:grpSpMk id="41" creationId="{B0C44099-5AB2-4DE5-B157-2C4D171E4F30}"/>
          </ac:grpSpMkLst>
        </pc:grpChg>
        <pc:grpChg chg="add mod">
          <ac:chgData name="Bjornsson, Jóhann Bjorn" userId="3324117d-b910-41f3-b11d-6944a01262fa" providerId="ADAL" clId="{4680FF95-60A4-4D9A-A223-7BDF43889D65}" dt="2022-06-07T00:21:00.497" v="708" actId="164"/>
          <ac:grpSpMkLst>
            <pc:docMk/>
            <pc:sldMk cId="2128354429" sldId="257"/>
            <ac:grpSpMk id="44" creationId="{9136600D-874A-4682-8180-6CCA2BE66F5F}"/>
          </ac:grpSpMkLst>
        </pc:grpChg>
        <pc:grpChg chg="add mod">
          <ac:chgData name="Bjornsson, Jóhann Bjorn" userId="3324117d-b910-41f3-b11d-6944a01262fa" providerId="ADAL" clId="{4680FF95-60A4-4D9A-A223-7BDF43889D65}" dt="2022-06-07T00:21:00.170" v="707" actId="164"/>
          <ac:grpSpMkLst>
            <pc:docMk/>
            <pc:sldMk cId="2128354429" sldId="257"/>
            <ac:grpSpMk id="45" creationId="{F448F725-5389-4E96-AAF5-2A6CE6DC7187}"/>
          </ac:grpSpMkLst>
        </pc:grpChg>
        <pc:grpChg chg="add mod">
          <ac:chgData name="Bjornsson, Jóhann Bjorn" userId="3324117d-b910-41f3-b11d-6944a01262fa" providerId="ADAL" clId="{4680FF95-60A4-4D9A-A223-7BDF43889D65}" dt="2022-06-07T00:20:57.736" v="706" actId="164"/>
          <ac:grpSpMkLst>
            <pc:docMk/>
            <pc:sldMk cId="2128354429" sldId="257"/>
            <ac:grpSpMk id="46" creationId="{B69EA0EA-5DCE-4A78-AD6C-9167CDE8C943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47" creationId="{AB6068CF-DCFC-4AE9-AD35-C3F083600C3E}"/>
          </ac:grpSpMkLst>
        </pc:grpChg>
        <pc:grpChg chg="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53" creationId="{635A5F9B-293B-4AF1-8B19-C8B0B5423AF5}"/>
          </ac:grpSpMkLst>
        </pc:grpChg>
        <pc:grpChg chg="add mod">
          <ac:chgData name="Bjornsson, Jóhann Bjorn" userId="3324117d-b910-41f3-b11d-6944a01262fa" providerId="ADAL" clId="{4680FF95-60A4-4D9A-A223-7BDF43889D65}" dt="2022-06-07T00:38:43.195" v="751" actId="465"/>
          <ac:grpSpMkLst>
            <pc:docMk/>
            <pc:sldMk cId="2128354429" sldId="257"/>
            <ac:grpSpMk id="60" creationId="{B50BEA00-1268-455E-8170-5ACD1BCC767B}"/>
          </ac:grpSpMkLst>
        </pc:grpChg>
        <pc:grpChg chg="del">
          <ac:chgData name="Bjornsson, Jóhann Bjorn" userId="3324117d-b910-41f3-b11d-6944a01262fa" providerId="ADAL" clId="{4680FF95-60A4-4D9A-A223-7BDF43889D65}" dt="2022-05-11T15:58:29.047" v="595" actId="478"/>
          <ac:grpSpMkLst>
            <pc:docMk/>
            <pc:sldMk cId="2128354429" sldId="257"/>
            <ac:grpSpMk id="61" creationId="{C6189E82-0FD1-47D7-BF0F-E74E32F66DB1}"/>
          </ac:grpSpMkLst>
        </pc:grpChg>
        <pc:grpChg chg="mod">
          <ac:chgData name="Bjornsson, Jóhann Bjorn" userId="3324117d-b910-41f3-b11d-6944a01262fa" providerId="ADAL" clId="{4680FF95-60A4-4D9A-A223-7BDF43889D65}" dt="2022-06-07T00:38:54.847" v="755" actId="1076"/>
          <ac:grpSpMkLst>
            <pc:docMk/>
            <pc:sldMk cId="2128354429" sldId="257"/>
            <ac:grpSpMk id="65" creationId="{91CE3FDD-854E-4A80-BF09-7D9C9DF83A5A}"/>
          </ac:grpSpMkLst>
        </pc:grpChg>
        <pc:grpChg chg="add mod">
          <ac:chgData name="Bjornsson, Jóhann Bjorn" userId="3324117d-b910-41f3-b11d-6944a01262fa" providerId="ADAL" clId="{4680FF95-60A4-4D9A-A223-7BDF43889D65}" dt="2022-06-07T00:38:21.240" v="745" actId="14100"/>
          <ac:grpSpMkLst>
            <pc:docMk/>
            <pc:sldMk cId="2128354429" sldId="257"/>
            <ac:grpSpMk id="68" creationId="{1660241E-B859-4148-B015-B7E74BE35A80}"/>
          </ac:grpSpMkLst>
        </pc:grpChg>
        <pc:grpChg chg="del">
          <ac:chgData name="Bjornsson, Jóhann Bjorn" userId="3324117d-b910-41f3-b11d-6944a01262fa" providerId="ADAL" clId="{4680FF95-60A4-4D9A-A223-7BDF43889D65}" dt="2022-06-07T00:21:41.047" v="719" actId="478"/>
          <ac:grpSpMkLst>
            <pc:docMk/>
            <pc:sldMk cId="2128354429" sldId="257"/>
            <ac:grpSpMk id="73" creationId="{6609B8A0-537D-482B-A39C-24B4D4177CB4}"/>
          </ac:grpSpMkLst>
        </pc:grpChg>
        <pc:grpChg chg="del">
          <ac:chgData name="Bjornsson, Jóhann Bjorn" userId="3324117d-b910-41f3-b11d-6944a01262fa" providerId="ADAL" clId="{4680FF95-60A4-4D9A-A223-7BDF43889D65}" dt="2022-06-07T00:21:42.455" v="720" actId="478"/>
          <ac:grpSpMkLst>
            <pc:docMk/>
            <pc:sldMk cId="2128354429" sldId="257"/>
            <ac:grpSpMk id="78" creationId="{E93D1ABB-94D5-4356-A854-C4B4D5D25DF9}"/>
          </ac:grpSpMkLst>
        </pc:grpChg>
        <pc:grpChg chg="add mod">
          <ac:chgData name="Bjornsson, Jóhann Bjorn" userId="3324117d-b910-41f3-b11d-6944a01262fa" providerId="ADAL" clId="{4680FF95-60A4-4D9A-A223-7BDF43889D65}" dt="2022-06-07T00:21:17.739" v="712" actId="164"/>
          <ac:grpSpMkLst>
            <pc:docMk/>
            <pc:sldMk cId="2128354429" sldId="257"/>
            <ac:grpSpMk id="82" creationId="{7E16D1D7-D356-49DA-AE01-426E3DABFC01}"/>
          </ac:grpSpMkLst>
        </pc:grpChg>
        <pc:grpChg chg="add mod">
          <ac:chgData name="Bjornsson, Jóhann Bjorn" userId="3324117d-b910-41f3-b11d-6944a01262fa" providerId="ADAL" clId="{4680FF95-60A4-4D9A-A223-7BDF43889D65}" dt="2022-06-07T00:21:19.912" v="713" actId="164"/>
          <ac:grpSpMkLst>
            <pc:docMk/>
            <pc:sldMk cId="2128354429" sldId="257"/>
            <ac:grpSpMk id="83" creationId="{240263B8-D736-45DC-ABDE-DCED67F9482C}"/>
          </ac:grpSpMkLst>
        </pc:grpChg>
        <pc:grpChg chg="add mod">
          <ac:chgData name="Bjornsson, Jóhann Bjorn" userId="3324117d-b910-41f3-b11d-6944a01262fa" providerId="ADAL" clId="{4680FF95-60A4-4D9A-A223-7BDF43889D65}" dt="2022-06-07T00:22:17.618" v="728" actId="14100"/>
          <ac:grpSpMkLst>
            <pc:docMk/>
            <pc:sldMk cId="2128354429" sldId="257"/>
            <ac:grpSpMk id="84" creationId="{D5B825D2-F8D6-45DC-8F4E-FE08D0E6134D}"/>
          </ac:grpSpMkLst>
        </pc:grpChg>
        <pc:picChg chg="mod">
          <ac:chgData name="Bjornsson, Jóhann Bjorn" userId="3324117d-b910-41f3-b11d-6944a01262fa" providerId="ADAL" clId="{4680FF95-60A4-4D9A-A223-7BDF43889D65}" dt="2022-06-07T00:21:52.880" v="723" actId="1076"/>
          <ac:picMkLst>
            <pc:docMk/>
            <pc:sldMk cId="2128354429" sldId="257"/>
            <ac:picMk id="8" creationId="{9C85CB7B-64C9-4000-A041-CD2FEC43059F}"/>
          </ac:picMkLst>
        </pc:picChg>
        <pc:picChg chg="mod topLvl">
          <ac:chgData name="Bjornsson, Jóhann Bjorn" userId="3324117d-b910-41f3-b11d-6944a01262fa" providerId="ADAL" clId="{4680FF95-60A4-4D9A-A223-7BDF43889D65}" dt="2022-06-07T00:21:09.800" v="711" actId="164"/>
          <ac:picMkLst>
            <pc:docMk/>
            <pc:sldMk cId="2128354429" sldId="257"/>
            <ac:picMk id="28" creationId="{54209226-7A36-42D6-85B7-AB326913E2C2}"/>
          </ac:picMkLst>
        </pc:picChg>
        <pc:picChg chg="del">
          <ac:chgData name="Bjornsson, Jóhann Bjorn" userId="3324117d-b910-41f3-b11d-6944a01262fa" providerId="ADAL" clId="{4680FF95-60A4-4D9A-A223-7BDF43889D65}" dt="2022-06-07T00:13:44.597" v="645" actId="478"/>
          <ac:picMkLst>
            <pc:docMk/>
            <pc:sldMk cId="2128354429" sldId="257"/>
            <ac:picMk id="29" creationId="{5D918C37-8900-496F-BFE2-31491F438197}"/>
          </ac:picMkLst>
        </pc:picChg>
        <pc:picChg chg="add mod topLvl">
          <ac:chgData name="Bjornsson, Jóhann Bjorn" userId="3324117d-b910-41f3-b11d-6944a01262fa" providerId="ADAL" clId="{4680FF95-60A4-4D9A-A223-7BDF43889D65}" dt="2022-06-07T00:16:23.559" v="661" actId="164"/>
          <ac:picMkLst>
            <pc:docMk/>
            <pc:sldMk cId="2128354429" sldId="257"/>
            <ac:picMk id="59" creationId="{2B00B697-CCEE-4C25-B910-EF41F9A3A955}"/>
          </ac:picMkLst>
        </pc:picChg>
        <pc:picChg chg="mod">
          <ac:chgData name="Bjornsson, Jóhann Bjorn" userId="3324117d-b910-41f3-b11d-6944a01262fa" providerId="ADAL" clId="{4680FF95-60A4-4D9A-A223-7BDF43889D65}" dt="2022-06-07T00:16:28.576" v="663" actId="571"/>
          <ac:picMkLst>
            <pc:docMk/>
            <pc:sldMk cId="2128354429" sldId="257"/>
            <ac:picMk id="62" creationId="{4BFFA43A-0EAC-447F-8629-03CFD122D4C3}"/>
          </ac:picMkLst>
        </pc:picChg>
        <pc:picChg chg="mod">
          <ac:chgData name="Bjornsson, Jóhann Bjorn" userId="3324117d-b910-41f3-b11d-6944a01262fa" providerId="ADAL" clId="{4680FF95-60A4-4D9A-A223-7BDF43889D65}" dt="2022-06-07T00:16:31.972" v="664" actId="571"/>
          <ac:picMkLst>
            <pc:docMk/>
            <pc:sldMk cId="2128354429" sldId="257"/>
            <ac:picMk id="70" creationId="{6F5F7004-FEE2-4DCA-AD1A-E5AB339DB5A6}"/>
          </ac:picMkLst>
        </pc:picChg>
        <pc:cxnChg chg="mod">
          <ac:chgData name="Bjornsson, Jóhann Bjorn" userId="3324117d-b910-41f3-b11d-6944a01262fa" providerId="ADAL" clId="{4680FF95-60A4-4D9A-A223-7BDF43889D65}" dt="2022-06-07T00:11:28.680" v="613" actId="478"/>
          <ac:cxnSpMkLst>
            <pc:docMk/>
            <pc:sldMk cId="2128354429" sldId="257"/>
            <ac:cxnSpMk id="42" creationId="{9DC93D6B-43E4-48FD-9D3F-A0CA022271B8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48" creationId="{B3BD923E-30B3-4207-AB0E-682876CBB684}"/>
          </ac:cxnSpMkLst>
        </pc:cxnChg>
        <pc:cxnChg chg="del">
          <ac:chgData name="Bjornsson, Jóhann Bjorn" userId="3324117d-b910-41f3-b11d-6944a01262fa" providerId="ADAL" clId="{4680FF95-60A4-4D9A-A223-7BDF43889D65}" dt="2022-06-07T00:21:27.752" v="715" actId="478"/>
          <ac:cxnSpMkLst>
            <pc:docMk/>
            <pc:sldMk cId="2128354429" sldId="257"/>
            <ac:cxnSpMk id="51" creationId="{F7839403-3B40-4F0E-99B5-CD4ADEBB2B9E}"/>
          </ac:cxnSpMkLst>
        </pc:cxnChg>
        <pc:cxnChg chg="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54" creationId="{E5A0B0F8-2EA9-43A0-A5F2-6C7B1783391F}"/>
          </ac:cxnSpMkLst>
        </pc:cxnChg>
        <pc:cxnChg chg="mod">
          <ac:chgData name="Bjornsson, Jóhann Bjorn" userId="3324117d-b910-41f3-b11d-6944a01262fa" providerId="ADAL" clId="{4680FF95-60A4-4D9A-A223-7BDF43889D65}" dt="2022-05-11T15:58:29.047" v="595" actId="478"/>
          <ac:cxnSpMkLst>
            <pc:docMk/>
            <pc:sldMk cId="2128354429" sldId="257"/>
            <ac:cxnSpMk id="62" creationId="{F119ECF8-35A4-4AC7-85EB-9EF3C84CC7FF}"/>
          </ac:cxnSpMkLst>
        </pc:cxnChg>
        <pc:cxnChg chg="mod">
          <ac:chgData name="Bjornsson, Jóhann Bjorn" userId="3324117d-b910-41f3-b11d-6944a01262fa" providerId="ADAL" clId="{4680FF95-60A4-4D9A-A223-7BDF43889D65}" dt="2022-06-07T00:22:17.618" v="728" actId="14100"/>
          <ac:cxnSpMkLst>
            <pc:docMk/>
            <pc:sldMk cId="2128354429" sldId="257"/>
            <ac:cxnSpMk id="66" creationId="{EDB7C801-9C40-45B2-A39B-27CFBB114F4F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72" creationId="{747DCBF0-293E-43D8-A019-CE59A109E442}"/>
          </ac:cxnSpMkLst>
        </pc:cxnChg>
        <pc:cxnChg chg="add mod">
          <ac:chgData name="Bjornsson, Jóhann Bjorn" userId="3324117d-b910-41f3-b11d-6944a01262fa" providerId="ADAL" clId="{4680FF95-60A4-4D9A-A223-7BDF43889D65}" dt="2022-06-07T00:38:48.322" v="752" actId="1076"/>
          <ac:cxnSpMkLst>
            <pc:docMk/>
            <pc:sldMk cId="2128354429" sldId="257"/>
            <ac:cxnSpMk id="81" creationId="{07A2B42A-B5F4-4961-BE65-C24413466D3D}"/>
          </ac:cxnSpMkLst>
        </pc:cxnChg>
      </pc:sldChg>
      <pc:sldChg chg="addSp delSp modSp new mod modTransition modClrScheme chgLayout">
        <pc:chgData name="Bjornsson, Jóhann Bjorn" userId="3324117d-b910-41f3-b11d-6944a01262fa" providerId="ADAL" clId="{4680FF95-60A4-4D9A-A223-7BDF43889D65}" dt="2022-05-11T15:15:49.908" v="373"/>
        <pc:sldMkLst>
          <pc:docMk/>
          <pc:sldMk cId="2093570773" sldId="258"/>
        </pc:sldMkLst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2" creationId="{F932A1CA-567B-4E95-B626-60A897D3CB10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3" creationId="{75F22303-98AC-4901-B8BD-B1176EBFDCEF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4" creationId="{2F4F39CC-4085-495E-8EE7-6C7A6324F293}"/>
          </ac:spMkLst>
        </pc:spChg>
        <pc:spChg chg="del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5" creationId="{06871633-3B91-4EA2-9562-3169DD630533}"/>
          </ac:spMkLst>
        </pc:spChg>
        <pc:spChg chg="add mod ord">
          <ac:chgData name="Bjornsson, Jóhann Bjorn" userId="3324117d-b910-41f3-b11d-6944a01262fa" providerId="ADAL" clId="{4680FF95-60A4-4D9A-A223-7BDF43889D65}" dt="2022-05-11T14:41:41.736" v="137" actId="20577"/>
          <ac:spMkLst>
            <pc:docMk/>
            <pc:sldMk cId="2093570773" sldId="258"/>
            <ac:spMk id="6" creationId="{1E1F3D28-58E3-44EC-9540-D7E62EF8F0BC}"/>
          </ac:spMkLst>
        </pc:spChg>
        <pc:spChg chg="add mod ord">
          <ac:chgData name="Bjornsson, Jóhann Bjorn" userId="3324117d-b910-41f3-b11d-6944a01262fa" providerId="ADAL" clId="{4680FF95-60A4-4D9A-A223-7BDF43889D65}" dt="2022-05-11T14:41:52.134" v="156" actId="20577"/>
          <ac:spMkLst>
            <pc:docMk/>
            <pc:sldMk cId="2093570773" sldId="258"/>
            <ac:spMk id="7" creationId="{2CDE937F-5BC7-42FC-8ACC-F52970D1C434}"/>
          </ac:spMkLst>
        </pc:spChg>
        <pc:spChg chg="add del mod ord">
          <ac:chgData name="Bjornsson, Jóhann Bjorn" userId="3324117d-b910-41f3-b11d-6944a01262fa" providerId="ADAL" clId="{4680FF95-60A4-4D9A-A223-7BDF43889D65}" dt="2022-05-11T14:41:30.336" v="63" actId="478"/>
          <ac:spMkLst>
            <pc:docMk/>
            <pc:sldMk cId="2093570773" sldId="258"/>
            <ac:spMk id="8" creationId="{14361D83-6797-4DA6-A2BC-242231EC4CAD}"/>
          </ac:spMkLst>
        </pc:spChg>
        <pc:spChg chg="add mod ord">
          <ac:chgData name="Bjornsson, Jóhann Bjorn" userId="3324117d-b910-41f3-b11d-6944a01262fa" providerId="ADAL" clId="{4680FF95-60A4-4D9A-A223-7BDF43889D65}" dt="2022-05-11T14:39:03.899" v="1" actId="700"/>
          <ac:spMkLst>
            <pc:docMk/>
            <pc:sldMk cId="2093570773" sldId="258"/>
            <ac:spMk id="9" creationId="{67B1AEB7-C3EE-4F9C-8F50-F36029BE1848}"/>
          </ac:spMkLst>
        </pc:spChg>
        <pc:spChg chg="add del mod ord">
          <ac:chgData name="Bjornsson, Jóhann Bjorn" userId="3324117d-b910-41f3-b11d-6944a01262fa" providerId="ADAL" clId="{4680FF95-60A4-4D9A-A223-7BDF43889D65}" dt="2022-05-11T14:41:23.554" v="62"/>
          <ac:spMkLst>
            <pc:docMk/>
            <pc:sldMk cId="2093570773" sldId="258"/>
            <ac:spMk id="14" creationId="{056C12E1-849F-4C4B-982B-0C3EC7C25DBB}"/>
          </ac:spMkLst>
        </pc:spChg>
        <pc:picChg chg="add del mod">
          <ac:chgData name="Bjornsson, Jóhann Bjorn" userId="3324117d-b910-41f3-b11d-6944a01262fa" providerId="ADAL" clId="{4680FF95-60A4-4D9A-A223-7BDF43889D65}" dt="2022-05-11T14:40:49.477" v="16"/>
          <ac:picMkLst>
            <pc:docMk/>
            <pc:sldMk cId="2093570773" sldId="258"/>
            <ac:picMk id="11" creationId="{28F51752-C576-40BB-A457-851F6E32C8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23.554" v="62"/>
          <ac:picMkLst>
            <pc:docMk/>
            <pc:sldMk cId="2093570773" sldId="258"/>
            <ac:picMk id="13" creationId="{0C8CB8C5-2641-4466-A29E-855A47B7D0FF}"/>
          </ac:picMkLst>
        </pc:picChg>
        <pc:picChg chg="add del mod ord">
          <ac:chgData name="Bjornsson, Jóhann Bjorn" userId="3324117d-b910-41f3-b11d-6944a01262fa" providerId="ADAL" clId="{4680FF95-60A4-4D9A-A223-7BDF43889D65}" dt="2022-05-11T14:41:32.813" v="101"/>
          <ac:picMkLst>
            <pc:docMk/>
            <pc:sldMk cId="2093570773" sldId="258"/>
            <ac:picMk id="16" creationId="{0FFFF723-B584-4599-9F08-77F4AE7F7A57}"/>
          </ac:picMkLst>
        </pc:picChg>
        <pc:picChg chg="add mod">
          <ac:chgData name="Bjornsson, Jóhann Bjorn" userId="3324117d-b910-41f3-b11d-6944a01262fa" providerId="ADAL" clId="{4680FF95-60A4-4D9A-A223-7BDF43889D65}" dt="2022-05-11T14:41:32.817" v="105" actId="18654"/>
          <ac:picMkLst>
            <pc:docMk/>
            <pc:sldMk cId="2093570773" sldId="258"/>
            <ac:picMk id="18" creationId="{0C02B024-D8F7-495F-B746-405967E93D04}"/>
          </ac:picMkLst>
        </pc:picChg>
      </pc:sldChg>
      <pc:sldChg chg="addSp delSp modSp new del mod modClrScheme chgLayout">
        <pc:chgData name="Bjornsson, Jóhann Bjorn" userId="3324117d-b910-41f3-b11d-6944a01262fa" providerId="ADAL" clId="{4680FF95-60A4-4D9A-A223-7BDF43889D65}" dt="2022-05-11T14:58:08.764" v="330" actId="47"/>
        <pc:sldMkLst>
          <pc:docMk/>
          <pc:sldMk cId="1607959216" sldId="259"/>
        </pc:sldMkLst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2" creationId="{8ECB6DC4-ED3B-45C8-AC91-B7333C1D687A}"/>
          </ac:spMkLst>
        </pc:spChg>
        <pc:spChg chg="del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3" creationId="{A8054F5A-AAC6-4AA6-B3AB-9E2F2C5F63B2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4" creationId="{72303F12-A357-4EE0-A0CF-2F9DD74F97B6}"/>
          </ac:spMkLst>
        </pc:spChg>
        <pc:spChg chg="del mod ord">
          <ac:chgData name="Bjornsson, Jóhann Bjorn" userId="3324117d-b910-41f3-b11d-6944a01262fa" providerId="ADAL" clId="{4680FF95-60A4-4D9A-A223-7BDF43889D65}" dt="2022-05-11T14:42:38.294" v="158" actId="700"/>
          <ac:spMkLst>
            <pc:docMk/>
            <pc:sldMk cId="1607959216" sldId="259"/>
            <ac:spMk id="5" creationId="{BA1BAE2B-DC3B-4451-B8BF-7065A37071C8}"/>
          </ac:spMkLst>
        </pc:spChg>
        <pc:spChg chg="add mod ord">
          <ac:chgData name="Bjornsson, Jóhann Bjorn" userId="3324117d-b910-41f3-b11d-6944a01262fa" providerId="ADAL" clId="{4680FF95-60A4-4D9A-A223-7BDF43889D65}" dt="2022-05-11T14:54:28.061" v="323" actId="20577"/>
          <ac:spMkLst>
            <pc:docMk/>
            <pc:sldMk cId="1607959216" sldId="259"/>
            <ac:spMk id="6" creationId="{991C4C60-D549-4836-B4EA-770904367F52}"/>
          </ac:spMkLst>
        </pc:spChg>
        <pc:spChg chg="add del mod ord">
          <ac:chgData name="Bjornsson, Jóhann Bjorn" userId="3324117d-b910-41f3-b11d-6944a01262fa" providerId="ADAL" clId="{4680FF95-60A4-4D9A-A223-7BDF43889D65}" dt="2022-05-11T14:48:24.206" v="235" actId="478"/>
          <ac:spMkLst>
            <pc:docMk/>
            <pc:sldMk cId="1607959216" sldId="259"/>
            <ac:spMk id="7" creationId="{3EF9BBE9-30E4-4A38-8871-1EE12AF4A468}"/>
          </ac:spMkLst>
        </pc:spChg>
        <pc:spChg chg="add del mod">
          <ac:chgData name="Bjornsson, Jóhann Bjorn" userId="3324117d-b910-41f3-b11d-6944a01262fa" providerId="ADAL" clId="{4680FF95-60A4-4D9A-A223-7BDF43889D65}" dt="2022-05-11T14:49:01.740" v="239" actId="478"/>
          <ac:spMkLst>
            <pc:docMk/>
            <pc:sldMk cId="1607959216" sldId="259"/>
            <ac:spMk id="13" creationId="{932F8ACD-1A2F-48C1-97FC-57FA8B6B365F}"/>
          </ac:spMkLst>
        </pc:spChg>
        <pc:spChg chg="add mod">
          <ac:chgData name="Bjornsson, Jóhann Bjorn" userId="3324117d-b910-41f3-b11d-6944a01262fa" providerId="ADAL" clId="{4680FF95-60A4-4D9A-A223-7BDF43889D65}" dt="2022-05-11T14:49:52.791" v="247" actId="408"/>
          <ac:spMkLst>
            <pc:docMk/>
            <pc:sldMk cId="1607959216" sldId="259"/>
            <ac:spMk id="16" creationId="{DC38A1FE-9193-48F3-980D-C7570E0226BE}"/>
          </ac:spMkLst>
        </pc:spChg>
        <pc:picChg chg="add del mod">
          <ac:chgData name="Bjornsson, Jóhann Bjorn" userId="3324117d-b910-41f3-b11d-6944a01262fa" providerId="ADAL" clId="{4680FF95-60A4-4D9A-A223-7BDF43889D65}" dt="2022-05-11T14:48:18.658" v="232" actId="478"/>
          <ac:picMkLst>
            <pc:docMk/>
            <pc:sldMk cId="1607959216" sldId="259"/>
            <ac:picMk id="9" creationId="{BC45C5F0-217B-4F78-AA97-671C5FD2C141}"/>
          </ac:picMkLst>
        </pc:picChg>
        <pc:picChg chg="add mod">
          <ac:chgData name="Bjornsson, Jóhann Bjorn" userId="3324117d-b910-41f3-b11d-6944a01262fa" providerId="ADAL" clId="{4680FF95-60A4-4D9A-A223-7BDF43889D65}" dt="2022-05-11T14:49:48.659" v="246" actId="12788"/>
          <ac:picMkLst>
            <pc:docMk/>
            <pc:sldMk cId="1607959216" sldId="259"/>
            <ac:picMk id="11" creationId="{CCECAC6C-27D9-4725-BCF7-9FA166726083}"/>
          </ac:picMkLst>
        </pc:picChg>
        <pc:picChg chg="add del mod">
          <ac:chgData name="Bjornsson, Jóhann Bjorn" userId="3324117d-b910-41f3-b11d-6944a01262fa" providerId="ADAL" clId="{4680FF95-60A4-4D9A-A223-7BDF43889D65}" dt="2022-05-11T14:53:51.673" v="297" actId="478"/>
          <ac:picMkLst>
            <pc:docMk/>
            <pc:sldMk cId="1607959216" sldId="259"/>
            <ac:picMk id="15" creationId="{F5867EA1-F089-4123-A4F0-DC5A2B2B09F3}"/>
          </ac:picMkLst>
        </pc:picChg>
        <pc:picChg chg="add mod">
          <ac:chgData name="Bjornsson, Jóhann Bjorn" userId="3324117d-b910-41f3-b11d-6944a01262fa" providerId="ADAL" clId="{4680FF95-60A4-4D9A-A223-7BDF43889D65}" dt="2022-05-11T14:53:56.347" v="299" actId="1076"/>
          <ac:picMkLst>
            <pc:docMk/>
            <pc:sldMk cId="1607959216" sldId="259"/>
            <ac:picMk id="18" creationId="{7F2F2678-3EA7-4838-ADF1-30611A4EE174}"/>
          </ac:picMkLst>
        </pc:picChg>
      </pc:sldChg>
      <pc:sldChg chg="addSp delSp modSp add mod modTransition modAnim">
        <pc:chgData name="Bjornsson, Jóhann Bjorn" userId="3324117d-b910-41f3-b11d-6944a01262fa" providerId="ADAL" clId="{4680FF95-60A4-4D9A-A223-7BDF43889D65}" dt="2022-05-11T15:15:50.076" v="374"/>
        <pc:sldMkLst>
          <pc:docMk/>
          <pc:sldMk cId="2948531841" sldId="260"/>
        </pc:sldMkLst>
        <pc:spChg chg="del">
          <ac:chgData name="Bjornsson, Jóhann Bjorn" userId="3324117d-b910-41f3-b11d-6944a01262fa" providerId="ADAL" clId="{4680FF95-60A4-4D9A-A223-7BDF43889D65}" dt="2022-05-11T15:08:58.236" v="350" actId="478"/>
          <ac:spMkLst>
            <pc:docMk/>
            <pc:sldMk cId="2948531841" sldId="260"/>
            <ac:spMk id="16" creationId="{DC38A1FE-9193-48F3-980D-C7570E0226BE}"/>
          </ac:spMkLst>
        </pc:spChg>
        <pc:picChg chg="add del mod modCrop">
          <ac:chgData name="Bjornsson, Jóhann Bjorn" userId="3324117d-b910-41f3-b11d-6944a01262fa" providerId="ADAL" clId="{4680FF95-60A4-4D9A-A223-7BDF43889D65}" dt="2022-05-11T15:08:56.595" v="349" actId="478"/>
          <ac:picMkLst>
            <pc:docMk/>
            <pc:sldMk cId="2948531841" sldId="260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09:11.061" v="351" actId="1076"/>
          <ac:picMkLst>
            <pc:docMk/>
            <pc:sldMk cId="2948531841" sldId="260"/>
            <ac:picMk id="11" creationId="{CCECAC6C-27D9-4725-BCF7-9FA166726083}"/>
          </ac:picMkLst>
        </pc:picChg>
        <pc:picChg chg="del">
          <ac:chgData name="Bjornsson, Jóhann Bjorn" userId="3324117d-b910-41f3-b11d-6944a01262fa" providerId="ADAL" clId="{4680FF95-60A4-4D9A-A223-7BDF43889D65}" dt="2022-05-11T14:57:29.574" v="325" actId="478"/>
          <ac:picMkLst>
            <pc:docMk/>
            <pc:sldMk cId="2948531841" sldId="260"/>
            <ac:picMk id="18" creationId="{7F2F2678-3EA7-4838-ADF1-30611A4EE174}"/>
          </ac:picMkLst>
        </pc:picChg>
      </pc:sldChg>
      <pc:sldChg chg="addSp delSp modSp add mod modTransition">
        <pc:chgData name="Bjornsson, Jóhann Bjorn" userId="3324117d-b910-41f3-b11d-6944a01262fa" providerId="ADAL" clId="{4680FF95-60A4-4D9A-A223-7BDF43889D65}" dt="2022-05-11T15:39:08.395" v="592" actId="1076"/>
        <pc:sldMkLst>
          <pc:docMk/>
          <pc:sldMk cId="4133261997" sldId="261"/>
        </pc:sldMkLst>
        <pc:picChg chg="mod modCrop">
          <ac:chgData name="Bjornsson, Jóhann Bjorn" userId="3324117d-b910-41f3-b11d-6944a01262fa" providerId="ADAL" clId="{4680FF95-60A4-4D9A-A223-7BDF43889D65}" dt="2022-05-11T15:39:08.395" v="592" actId="1076"/>
          <ac:picMkLst>
            <pc:docMk/>
            <pc:sldMk cId="4133261997" sldId="261"/>
            <ac:picMk id="3" creationId="{88720707-6D7B-4382-95CD-40E75001BCB4}"/>
          </ac:picMkLst>
        </pc:picChg>
        <pc:picChg chg="add del mod">
          <ac:chgData name="Bjornsson, Jóhann Bjorn" userId="3324117d-b910-41f3-b11d-6944a01262fa" providerId="ADAL" clId="{4680FF95-60A4-4D9A-A223-7BDF43889D65}" dt="2022-05-11T15:13:20.910" v="361" actId="478"/>
          <ac:picMkLst>
            <pc:docMk/>
            <pc:sldMk cId="4133261997" sldId="261"/>
            <ac:picMk id="4" creationId="{8FF929F3-BE97-47D5-A2FB-51EADF4EDA67}"/>
          </ac:picMkLst>
        </pc:picChg>
        <pc:picChg chg="add del mod">
          <ac:chgData name="Bjornsson, Jóhann Bjorn" userId="3324117d-b910-41f3-b11d-6944a01262fa" providerId="ADAL" clId="{4680FF95-60A4-4D9A-A223-7BDF43889D65}" dt="2022-05-11T15:15:55.566" v="377" actId="478"/>
          <ac:picMkLst>
            <pc:docMk/>
            <pc:sldMk cId="4133261997" sldId="261"/>
            <ac:picMk id="7" creationId="{78DFD3DB-6378-49B0-924A-0C588CD55223}"/>
          </ac:picMkLst>
        </pc:picChg>
      </pc:sldChg>
      <pc:sldChg chg="addSp delSp modSp add del mod modTransition">
        <pc:chgData name="Bjornsson, Jóhann Bjorn" userId="3324117d-b910-41f3-b11d-6944a01262fa" providerId="ADAL" clId="{4680FF95-60A4-4D9A-A223-7BDF43889D65}" dt="2022-05-11T15:38:32.605" v="588" actId="47"/>
        <pc:sldMkLst>
          <pc:docMk/>
          <pc:sldMk cId="3202567094" sldId="262"/>
        </pc:sldMkLst>
        <pc:spChg chg="add del mod">
          <ac:chgData name="Bjornsson, Jóhann Bjorn" userId="3324117d-b910-41f3-b11d-6944a01262fa" providerId="ADAL" clId="{4680FF95-60A4-4D9A-A223-7BDF43889D65}" dt="2022-05-11T15:33:45.302" v="474" actId="478"/>
          <ac:spMkLst>
            <pc:docMk/>
            <pc:sldMk cId="3202567094" sldId="262"/>
            <ac:spMk id="7" creationId="{1BECF8E8-D143-47BE-9BE6-AEB7C9426D72}"/>
          </ac:spMkLst>
        </pc:spChg>
        <pc:spChg chg="add mod">
          <ac:chgData name="Bjornsson, Jóhann Bjorn" userId="3324117d-b910-41f3-b11d-6944a01262fa" providerId="ADAL" clId="{4680FF95-60A4-4D9A-A223-7BDF43889D65}" dt="2022-05-11T15:38:17.543" v="585" actId="404"/>
          <ac:spMkLst>
            <pc:docMk/>
            <pc:sldMk cId="3202567094" sldId="262"/>
            <ac:spMk id="8" creationId="{C70C806A-9AB6-458C-A9B1-BB2813A45ED3}"/>
          </ac:spMkLst>
        </pc:spChg>
        <pc:spChg chg="mod">
          <ac:chgData name="Bjornsson, Jóhann Bjorn" userId="3324117d-b910-41f3-b11d-6944a01262fa" providerId="ADAL" clId="{4680FF95-60A4-4D9A-A223-7BDF43889D65}" dt="2022-05-11T15:38:16.351" v="579" actId="1076"/>
          <ac:spMkLst>
            <pc:docMk/>
            <pc:sldMk cId="3202567094" sldId="262"/>
            <ac:spMk id="16" creationId="{DC38A1FE-9193-48F3-980D-C7570E0226BE}"/>
          </ac:spMkLst>
        </pc:spChg>
        <pc:picChg chg="del">
          <ac:chgData name="Bjornsson, Jóhann Bjorn" userId="3324117d-b910-41f3-b11d-6944a01262fa" providerId="ADAL" clId="{4680FF95-60A4-4D9A-A223-7BDF43889D65}" dt="2022-05-11T15:33:41.997" v="472" actId="478"/>
          <ac:picMkLst>
            <pc:docMk/>
            <pc:sldMk cId="3202567094" sldId="262"/>
            <ac:picMk id="3" creationId="{88720707-6D7B-4382-95CD-40E75001BCB4}"/>
          </ac:picMkLst>
        </pc:picChg>
        <pc:picChg chg="mod">
          <ac:chgData name="Bjornsson, Jóhann Bjorn" userId="3324117d-b910-41f3-b11d-6944a01262fa" providerId="ADAL" clId="{4680FF95-60A4-4D9A-A223-7BDF43889D65}" dt="2022-05-11T15:38:16.202" v="578" actId="1076"/>
          <ac:picMkLst>
            <pc:docMk/>
            <pc:sldMk cId="3202567094" sldId="262"/>
            <ac:picMk id="11" creationId="{CCECAC6C-27D9-4725-BCF7-9FA166726083}"/>
          </ac:picMkLst>
        </pc:picChg>
      </pc:sldChg>
      <pc:sldChg chg="add">
        <pc:chgData name="Bjornsson, Jóhann Bjorn" userId="3324117d-b910-41f3-b11d-6944a01262fa" providerId="ADAL" clId="{4680FF95-60A4-4D9A-A223-7BDF43889D65}" dt="2022-05-11T15:15:52.342" v="376" actId="2890"/>
        <pc:sldMkLst>
          <pc:docMk/>
          <pc:sldMk cId="4148441264" sldId="263"/>
        </pc:sldMkLst>
      </pc:sldChg>
      <pc:sldChg chg="add">
        <pc:chgData name="Bjornsson, Jóhann Bjorn" userId="3324117d-b910-41f3-b11d-6944a01262fa" providerId="ADAL" clId="{4680FF95-60A4-4D9A-A223-7BDF43889D65}" dt="2022-05-11T15:38:43.840" v="590" actId="2890"/>
        <pc:sldMkLst>
          <pc:docMk/>
          <pc:sldMk cId="557562315" sldId="264"/>
        </pc:sldMkLst>
      </pc:sldChg>
      <pc:sldChg chg="addSp delSp modSp new del mod">
        <pc:chgData name="Bjornsson, Jóhann Bjorn" userId="3324117d-b910-41f3-b11d-6944a01262fa" providerId="ADAL" clId="{4680FF95-60A4-4D9A-A223-7BDF43889D65}" dt="2022-05-11T15:38:33.947" v="589" actId="47"/>
        <pc:sldMkLst>
          <pc:docMk/>
          <pc:sldMk cId="3303025527" sldId="264"/>
        </pc:sldMkLst>
        <pc:spChg chg="del">
          <ac:chgData name="Bjornsson, Jóhann Bjorn" userId="3324117d-b910-41f3-b11d-6944a01262fa" providerId="ADAL" clId="{4680FF95-60A4-4D9A-A223-7BDF43889D65}" dt="2022-05-11T15:21:22.189" v="379" actId="478"/>
          <ac:spMkLst>
            <pc:docMk/>
            <pc:sldMk cId="3303025527" sldId="264"/>
            <ac:spMk id="3" creationId="{D68A6A4A-65F8-46CE-A8AB-582EC6B05711}"/>
          </ac:spMkLst>
        </pc:spChg>
        <pc:spChg chg="add del">
          <ac:chgData name="Bjornsson, Jóhann Bjorn" userId="3324117d-b910-41f3-b11d-6944a01262fa" providerId="ADAL" clId="{4680FF95-60A4-4D9A-A223-7BDF43889D65}" dt="2022-05-11T15:21:57.714" v="381" actId="478"/>
          <ac:spMkLst>
            <pc:docMk/>
            <pc:sldMk cId="3303025527" sldId="264"/>
            <ac:spMk id="5" creationId="{EDF97518-C4C9-4F13-874B-D61E63CAB9D1}"/>
          </ac:spMkLst>
        </pc:spChg>
        <pc:spChg chg="add del mod">
          <ac:chgData name="Bjornsson, Jóhann Bjorn" userId="3324117d-b910-41f3-b11d-6944a01262fa" providerId="ADAL" clId="{4680FF95-60A4-4D9A-A223-7BDF43889D65}" dt="2022-05-11T15:31:46.250" v="424" actId="21"/>
          <ac:spMkLst>
            <pc:docMk/>
            <pc:sldMk cId="3303025527" sldId="264"/>
            <ac:spMk id="8" creationId="{C9E3B5E0-4BB9-4AE7-871B-C02E8569F391}"/>
          </ac:spMkLst>
        </pc:spChg>
        <pc:graphicFrameChg chg="add del mod">
          <ac:chgData name="Bjornsson, Jóhann Bjorn" userId="3324117d-b910-41f3-b11d-6944a01262fa" providerId="ADAL" clId="{4680FF95-60A4-4D9A-A223-7BDF43889D65}" dt="2022-05-11T15:22:12.677" v="386" actId="3680"/>
          <ac:graphicFrameMkLst>
            <pc:docMk/>
            <pc:sldMk cId="3303025527" sldId="264"/>
            <ac:graphicFrameMk id="6" creationId="{29172966-D50A-482A-9AD3-4CB89D6C6625}"/>
          </ac:graphicFrameMkLst>
        </pc:graphicFrameChg>
      </pc:sldChg>
      <pc:sldChg chg="add del">
        <pc:chgData name="Bjornsson, Jóhann Bjorn" userId="3324117d-b910-41f3-b11d-6944a01262fa" providerId="ADAL" clId="{4680FF95-60A4-4D9A-A223-7BDF43889D65}" dt="2022-05-11T15:38:15.413" v="575" actId="2890"/>
        <pc:sldMkLst>
          <pc:docMk/>
          <pc:sldMk cId="2022419502" sldId="265"/>
        </pc:sldMkLst>
      </pc:sldChg>
      <pc:sldChg chg="modSp add del mod">
        <pc:chgData name="Bjornsson, Jóhann Bjorn" userId="3324117d-b910-41f3-b11d-6944a01262fa" providerId="ADAL" clId="{4680FF95-60A4-4D9A-A223-7BDF43889D65}" dt="2022-05-11T15:38:11.463" v="563" actId="2890"/>
        <pc:sldMkLst>
          <pc:docMk/>
          <pc:sldMk cId="2302327150" sldId="266"/>
        </pc:sldMkLst>
        <pc:spChg chg="mod">
          <ac:chgData name="Bjornsson, Jóhann Bjorn" userId="3324117d-b910-41f3-b11d-6944a01262fa" providerId="ADAL" clId="{4680FF95-60A4-4D9A-A223-7BDF43889D65}" dt="2022-05-11T15:38:11.407" v="562" actId="20577"/>
          <ac:spMkLst>
            <pc:docMk/>
            <pc:sldMk cId="2302327150" sldId="266"/>
            <ac:spMk id="8" creationId="{C70C806A-9AB6-458C-A9B1-BB2813A45ED3}"/>
          </ac:spMkLst>
        </pc:spChg>
      </pc:sldChg>
      <pc:sldMasterChg chg="modTransition modSldLayout">
        <pc:chgData name="Bjornsson, Jóhann Bjorn" userId="3324117d-b910-41f3-b11d-6944a01262fa" providerId="ADAL" clId="{4680FF95-60A4-4D9A-A223-7BDF43889D65}" dt="2022-05-11T15:09:24.393" v="357"/>
        <pc:sldMasterMkLst>
          <pc:docMk/>
          <pc:sldMasterMk cId="2246303637" sldId="2147483757"/>
        </pc:sldMasterMkLst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72371442" sldId="21474837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936978992" sldId="21474837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09295223" sldId="214748375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54862098" sldId="214748375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651647788" sldId="214748376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907596974" sldId="214748376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28126015" sldId="214748376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75842785" sldId="214748376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071452732" sldId="214748376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124883574" sldId="214748376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4011592" sldId="214748376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166098166" sldId="214748376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209323641" sldId="214748377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64348261" sldId="214748377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84547591" sldId="214748377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396271539" sldId="214748377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78940449" sldId="214748377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95185929" sldId="214748377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506350091" sldId="214748377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77058815" sldId="214748377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242828032" sldId="214748377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3255577" sldId="214748377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513592431" sldId="214748378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48249979" sldId="214748378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036489793" sldId="214748378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85389897" sldId="214748378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655964178" sldId="214748378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7558190" sldId="214748378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686474036" sldId="214748378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194719728" sldId="214748378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691287324" sldId="214748379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873624590" sldId="214748379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777820381" sldId="2147483798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409375295" sldId="2147483799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96404764" sldId="2147483800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456616124" sldId="2147483801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861607157" sldId="2147483802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1363009763" sldId="2147483803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092268540" sldId="2147483804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430589089" sldId="2147483805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2346392547" sldId="2147483806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821412863" sldId="2147483807"/>
          </pc:sldLayoutMkLst>
        </pc:sldLayoutChg>
        <pc:sldLayoutChg chg="modTransition">
          <pc:chgData name="Bjornsson, Jóhann Bjorn" userId="3324117d-b910-41f3-b11d-6944a01262fa" providerId="ADAL" clId="{4680FF95-60A4-4D9A-A223-7BDF43889D65}" dt="2022-05-11T15:09:24.393" v="357"/>
          <pc:sldLayoutMkLst>
            <pc:docMk/>
            <pc:sldMasterMk cId="2246303637" sldId="2147483757"/>
            <pc:sldLayoutMk cId="306459590" sldId="2147483808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F0CD5AD-D83B-4104-ADE9-2534AD01D6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LAN_PSubtitle">
            <a:extLst>
              <a:ext uri="{FF2B5EF4-FFF2-40B4-BE49-F238E27FC236}">
                <a16:creationId xmlns:a16="http://schemas.microsoft.com/office/drawing/2014/main" id="{00CFBD48-9A05-44C7-B8EE-8D3E80D973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B9FBE6-76D1-462D-85BF-5ACDBA4A9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295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596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458885-397C-4D8F-8C1C-CEDDD1BD255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1607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18C811-7445-40F8-A92C-7EEE057CA1F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93752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829301-969F-4D28-BD74-62414911C26A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05890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 dark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801D67-DFA0-4B7F-A1E1-65D012D060B4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3009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6DF263-C6E3-478D-9302-1D52DABFC3AC}"/>
              </a:ext>
            </a:extLst>
          </p:cNvPr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t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lafy</a:t>
            </a:r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B6D00A-8D03-47C0-A0E6-03AABE618FE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964047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76D297-AA34-4D97-B8EC-A21CA46713AC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66161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1300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126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427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14527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83CF968-60D0-43F8-8E0C-BDB03EDEE3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1650" y="6356350"/>
            <a:ext cx="4195762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LAN_PSubtitle">
            <a:extLst>
              <a:ext uri="{FF2B5EF4-FFF2-40B4-BE49-F238E27FC236}">
                <a16:creationId xmlns:a16="http://schemas.microsoft.com/office/drawing/2014/main" id="{52EC2E1A-735E-41E5-ADA4-DF37F068DA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404" y="5675682"/>
            <a:ext cx="4194008" cy="628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a-DK" dirty="0"/>
              <a:t>Underoverskrift max to linjer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5C158E5-FB1A-4C9C-84E2-19E5DF32C4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4821652"/>
            <a:ext cx="4195762" cy="801419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 err="1"/>
              <a:t>Præsentationstitel</a:t>
            </a:r>
            <a:endParaRPr lang="en-US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5EE771B-BF78-4F07-9EA2-5E2E21677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8620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8835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115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098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3236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4348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4547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62715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9404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95185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06350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647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770588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>
                <a:latin typeface="+mj-lt"/>
              </a:defRPr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D67354-589A-4134-9BF4-49073EF6916F}"/>
              </a:ext>
            </a:extLst>
          </p:cNvPr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08A8FC-38F0-4C2F-8341-81E110B7DDFA}"/>
              </a:ext>
            </a:extLst>
          </p:cNvPr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5299EA-E622-4E9E-AFE3-61DB41B094B4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97B3BB-FEAA-48F4-A091-7980D1AB72E6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828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32555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6CB728-6065-4211-9B5B-36BB7061087A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45E81-7BCD-47BF-8332-21EC55FAE8C3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92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58C70C-38AA-41B8-857D-2E80BDDEEE7B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97A482-F480-4FC9-89FA-30A1D342305A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BBAB48-2058-4E95-A60B-2E1C9F63F370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9CCB69-A035-447D-BC34-A5F5BC7D949A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249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56117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6555E0-81ED-41A3-87FD-183700C29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E362C59-2A72-4345-9C00-13ECDB5F0E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364897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1854960"/>
            <a:ext cx="2592000" cy="38422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04BEDF-75F9-4614-9F13-BD085E12D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C6E6D87-0387-4B48-B14C-509474248E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CC60B1-352B-4905-B7FB-AE2E57CCF98E}"/>
              </a:ext>
            </a:extLst>
          </p:cNvPr>
          <p:cNvSpPr/>
          <p:nvPr/>
        </p:nvSpPr>
        <p:spPr>
          <a:xfrm>
            <a:off x="504001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6A2C3E-F4EA-4009-9063-AFDD2FA9E400}"/>
              </a:ext>
            </a:extLst>
          </p:cNvPr>
          <p:cNvSpPr/>
          <p:nvPr/>
        </p:nvSpPr>
        <p:spPr>
          <a:xfrm>
            <a:off x="3368279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8ABF4C-6FF8-4F3C-89A6-803C4CD0872A}"/>
              </a:ext>
            </a:extLst>
          </p:cNvPr>
          <p:cNvSpPr/>
          <p:nvPr/>
        </p:nvSpPr>
        <p:spPr>
          <a:xfrm>
            <a:off x="6232557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E69E82-A39F-4B1E-A23E-1891A5137E54}"/>
              </a:ext>
            </a:extLst>
          </p:cNvPr>
          <p:cNvSpPr/>
          <p:nvPr/>
        </p:nvSpPr>
        <p:spPr>
          <a:xfrm>
            <a:off x="9096836" y="1700214"/>
            <a:ext cx="2592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389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four_mediu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1651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01651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11" name="Bildplatzhalter 10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01651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2" name="Bildplatzhalter 10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1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0"/>
          </p:nvPr>
        </p:nvSpPr>
        <p:spPr>
          <a:xfrm>
            <a:off x="2000251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52"/>
          </p:nvPr>
        </p:nvSpPr>
        <p:spPr>
          <a:xfrm>
            <a:off x="2000251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2000251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57" hasCustomPrompt="1"/>
          </p:nvPr>
        </p:nvSpPr>
        <p:spPr>
          <a:xfrm>
            <a:off x="2000251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504726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504726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B3A83B-0445-46B7-89C9-0C060499FF26}"/>
              </a:ext>
            </a:extLst>
          </p:cNvPr>
          <p:cNvSpPr/>
          <p:nvPr/>
        </p:nvSpPr>
        <p:spPr bwMode="gray">
          <a:xfrm>
            <a:off x="501651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22AA8B2-B09F-4C82-A0D9-0F570305431F}"/>
              </a:ext>
            </a:extLst>
          </p:cNvPr>
          <p:cNvSpPr/>
          <p:nvPr/>
        </p:nvSpPr>
        <p:spPr bwMode="gray">
          <a:xfrm>
            <a:off x="501651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C4C9AE11-06ED-4C3D-B56C-504C3F751ED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271302" y="1662955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spcBef>
                <a:spcPts val="300"/>
              </a:spcBef>
              <a:spcAft>
                <a:spcPts val="0"/>
              </a:spcAft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7430EFE0-C060-431E-BFE3-8FC49E2FE86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71302" y="4199256"/>
            <a:ext cx="5447725" cy="3587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lang="en-US" sz="1200" b="1" baseline="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ts val="300"/>
              </a:spcBef>
              <a:spcAft>
                <a:spcPts val="0"/>
              </a:spcAft>
            </a:pPr>
            <a:r>
              <a:rPr lang="en-US" dirty="0"/>
              <a:t>Surname name (e.g. Max </a:t>
            </a:r>
            <a:r>
              <a:rPr lang="en-US" dirty="0" err="1"/>
              <a:t>Mustermann</a:t>
            </a:r>
            <a:r>
              <a:rPr lang="en-US" dirty="0"/>
              <a:t>)</a:t>
            </a:r>
          </a:p>
        </p:txBody>
      </p:sp>
      <p:sp>
        <p:nvSpPr>
          <p:cNvPr id="96" name="Bildplatzhalter 10">
            <a:extLst>
              <a:ext uri="{FF2B5EF4-FFF2-40B4-BE49-F238E27FC236}">
                <a16:creationId xmlns:a16="http://schemas.microsoft.com/office/drawing/2014/main" id="{EBCCFBCF-57D1-4616-AA59-4481C2573C26}"/>
              </a:ext>
            </a:extLst>
          </p:cNvPr>
          <p:cNvSpPr>
            <a:spLocks noGrp="1" noChangeAspect="1"/>
          </p:cNvSpPr>
          <p:nvPr>
            <p:ph type="pic" sz="quarter" idx="68" hasCustomPrompt="1"/>
          </p:nvPr>
        </p:nvSpPr>
        <p:spPr>
          <a:xfrm>
            <a:off x="6271302" y="2155872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7" name="Bildplatzhalter 10">
            <a:extLst>
              <a:ext uri="{FF2B5EF4-FFF2-40B4-BE49-F238E27FC236}">
                <a16:creationId xmlns:a16="http://schemas.microsoft.com/office/drawing/2014/main" id="{FD309017-D1D5-4882-8C67-CAB0E6BFE539}"/>
              </a:ext>
            </a:extLst>
          </p:cNvPr>
          <p:cNvSpPr>
            <a:spLocks noGrp="1" noChangeAspect="1"/>
          </p:cNvSpPr>
          <p:nvPr>
            <p:ph type="pic" sz="quarter" idx="69" hasCustomPrompt="1"/>
          </p:nvPr>
        </p:nvSpPr>
        <p:spPr>
          <a:xfrm>
            <a:off x="6271302" y="4692174"/>
            <a:ext cx="1371634" cy="1371634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55D0CA32-C357-45B5-9D7A-36E1438A6172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7769902" y="2411075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299E7C2E-C8B4-4AE2-AFD7-7550E02E6F89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769902" y="4943840"/>
            <a:ext cx="3946153" cy="1119967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ED4F3E7E-FE73-43FC-9570-EC60C236CD1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769902" y="2161429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1" name="Text Placeholder 4">
            <a:extLst>
              <a:ext uri="{FF2B5EF4-FFF2-40B4-BE49-F238E27FC236}">
                <a16:creationId xmlns:a16="http://schemas.microsoft.com/office/drawing/2014/main" id="{9EED1227-4BE3-4573-9924-4361BDD1EEA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769902" y="4692175"/>
            <a:ext cx="3946153" cy="197252"/>
          </a:xfrm>
        </p:spPr>
        <p:txBody>
          <a:bodyPr/>
          <a:lstStyle>
            <a:lvl1pPr>
              <a:spcBef>
                <a:spcPts val="300"/>
              </a:spcBef>
              <a:spcAft>
                <a:spcPts val="0"/>
              </a:spcAft>
              <a:defRPr sz="1000" b="1"/>
            </a:lvl1pPr>
            <a:lvl2pPr>
              <a:spcBef>
                <a:spcPts val="300"/>
              </a:spcBef>
              <a:defRPr sz="1000"/>
            </a:lvl2pPr>
            <a:lvl3pPr>
              <a:spcBef>
                <a:spcPts val="300"/>
              </a:spcBef>
              <a:defRPr sz="1000"/>
            </a:lvl3pPr>
            <a:lvl4pPr>
              <a:spcBef>
                <a:spcPts val="300"/>
              </a:spcBef>
              <a:defRPr sz="1000"/>
            </a:lvl4pPr>
            <a:lvl5pPr>
              <a:spcBef>
                <a:spcPts val="300"/>
              </a:spcBef>
              <a:defRPr sz="1000"/>
            </a:lvl5pPr>
          </a:lstStyle>
          <a:p>
            <a:pPr lvl="0"/>
            <a:r>
              <a:rPr lang="en-US" noProof="0" dirty="0"/>
              <a:t>Position/ level, service line </a:t>
            </a: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FBAD733C-0C6A-45A7-9E55-C4DC61EEF983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74377" y="3583829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3" name="Text Placeholder 6">
            <a:extLst>
              <a:ext uri="{FF2B5EF4-FFF2-40B4-BE49-F238E27FC236}">
                <a16:creationId xmlns:a16="http://schemas.microsoft.com/office/drawing/2014/main" id="{6FE1C942-A3A7-4771-8F9B-47E338A1F20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274377" y="6116202"/>
            <a:ext cx="5447725" cy="180000"/>
          </a:xfrm>
        </p:spPr>
        <p:txBody>
          <a:bodyPr/>
          <a:lstStyle>
            <a:lvl1pPr>
              <a:defRPr sz="1200" i="1" baseline="0">
                <a:solidFill>
                  <a:schemeClr val="accent1"/>
                </a:solidFill>
              </a:defRPr>
            </a:lvl1pPr>
            <a:lvl2pPr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1"/>
                </a:solidFill>
              </a:defRPr>
            </a:lvl3pPr>
            <a:lvl4pPr>
              <a:defRPr sz="1000">
                <a:solidFill>
                  <a:schemeClr val="accent1"/>
                </a:solidFill>
              </a:defRPr>
            </a:lvl4pPr>
            <a:lvl5pPr>
              <a:defRPr sz="1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Role in this project 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E8EC8E8-14C8-4FAD-A0DE-1D2681EBE0E2}"/>
              </a:ext>
            </a:extLst>
          </p:cNvPr>
          <p:cNvSpPr/>
          <p:nvPr/>
        </p:nvSpPr>
        <p:spPr bwMode="gray">
          <a:xfrm>
            <a:off x="6271302" y="1990590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7078519-9EC9-467E-8ED9-D80ECE64583D}"/>
              </a:ext>
            </a:extLst>
          </p:cNvPr>
          <p:cNvSpPr/>
          <p:nvPr/>
        </p:nvSpPr>
        <p:spPr bwMode="gray">
          <a:xfrm>
            <a:off x="6271302" y="4526891"/>
            <a:ext cx="5446800" cy="54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noProof="0" dirty="0" err="1">
              <a:solidFill>
                <a:schemeClr val="bg1"/>
              </a:solidFill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9522C300-F7D9-474B-8873-542EE1D48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A9295E01-0FF5-40DA-AB73-63C0A749A7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463925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six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ct 82" hidden="1">
            <a:extLst>
              <a:ext uri="{FF2B5EF4-FFF2-40B4-BE49-F238E27FC236}">
                <a16:creationId xmlns:a16="http://schemas.microsoft.com/office/drawing/2014/main" id="{22C11BE9-381D-4D33-A8AE-680618D532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3" name="Object 82" hidden="1">
                        <a:extLst>
                          <a:ext uri="{FF2B5EF4-FFF2-40B4-BE49-F238E27FC236}">
                            <a16:creationId xmlns:a16="http://schemas.microsoft.com/office/drawing/2014/main" id="{22C11BE9-381D-4D33-A8AE-680618D53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89A8A6B0-C8D6-4AEE-A3C2-4F3363A3FFC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 noProof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3A7527-95AA-40E7-B3B9-E96A085C67F3}"/>
              </a:ext>
            </a:extLst>
          </p:cNvPr>
          <p:cNvSpPr/>
          <p:nvPr/>
        </p:nvSpPr>
        <p:spPr bwMode="gray">
          <a:xfrm>
            <a:off x="501651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84" name="Content Placeholder 46">
            <a:extLst>
              <a:ext uri="{FF2B5EF4-FFF2-40B4-BE49-F238E27FC236}">
                <a16:creationId xmlns:a16="http://schemas.microsoft.com/office/drawing/2014/main" id="{74A8DF90-8910-4668-832F-9552A477B7B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89092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03" name="Content Placeholder 102">
            <a:extLst>
              <a:ext uri="{FF2B5EF4-FFF2-40B4-BE49-F238E27FC236}">
                <a16:creationId xmlns:a16="http://schemas.microsoft.com/office/drawing/2014/main" id="{7709949C-3D1F-49F1-8DE8-F8E35CB997A1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3541723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D24A217-5F84-49BB-B9A6-F02643E74EB7}"/>
              </a:ext>
            </a:extLst>
          </p:cNvPr>
          <p:cNvSpPr/>
          <p:nvPr/>
        </p:nvSpPr>
        <p:spPr>
          <a:xfrm>
            <a:off x="611580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0442F4A8-C850-478B-939A-DD67E42CB2F2}"/>
              </a:ext>
            </a:extLst>
          </p:cNvPr>
          <p:cNvSpPr/>
          <p:nvPr/>
        </p:nvSpPr>
        <p:spPr bwMode="gray">
          <a:xfrm>
            <a:off x="501651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14" name="Content Placeholder 46">
            <a:extLst>
              <a:ext uri="{FF2B5EF4-FFF2-40B4-BE49-F238E27FC236}">
                <a16:creationId xmlns:a16="http://schemas.microsoft.com/office/drawing/2014/main" id="{57AC50EA-45B7-4AE1-88E7-4E86216AFF7B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589092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17" name="Content Placeholder 102">
            <a:extLst>
              <a:ext uri="{FF2B5EF4-FFF2-40B4-BE49-F238E27FC236}">
                <a16:creationId xmlns:a16="http://schemas.microsoft.com/office/drawing/2014/main" id="{8E39DAF7-F396-4C32-ACA8-BCBAA387A531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3541723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FC2A5F00-6D9F-437F-8FA9-F0492A55E227}"/>
              </a:ext>
            </a:extLst>
          </p:cNvPr>
          <p:cNvSpPr/>
          <p:nvPr/>
        </p:nvSpPr>
        <p:spPr>
          <a:xfrm>
            <a:off x="611580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AECD162-8D6C-4613-BB71-3B7AE2782AF0}"/>
              </a:ext>
            </a:extLst>
          </p:cNvPr>
          <p:cNvSpPr/>
          <p:nvPr/>
        </p:nvSpPr>
        <p:spPr bwMode="gray">
          <a:xfrm>
            <a:off x="4332000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0" name="Content Placeholder 46">
            <a:extLst>
              <a:ext uri="{FF2B5EF4-FFF2-40B4-BE49-F238E27FC236}">
                <a16:creationId xmlns:a16="http://schemas.microsoft.com/office/drawing/2014/main" id="{20ECD3A6-BA00-4D3E-87CF-B5D331981C12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4419441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3" name="Content Placeholder 102">
            <a:extLst>
              <a:ext uri="{FF2B5EF4-FFF2-40B4-BE49-F238E27FC236}">
                <a16:creationId xmlns:a16="http://schemas.microsoft.com/office/drawing/2014/main" id="{099487A5-393D-4EDD-8A87-F4706ED9ECE5}"/>
              </a:ext>
            </a:extLst>
          </p:cNvPr>
          <p:cNvSpPr>
            <a:spLocks noGrp="1"/>
          </p:cNvSpPr>
          <p:nvPr>
            <p:ph sz="quarter" idx="56" hasCustomPrompt="1"/>
          </p:nvPr>
        </p:nvSpPr>
        <p:spPr>
          <a:xfrm>
            <a:off x="7372072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B3221FF-5856-471B-9DED-78FA9692858D}"/>
              </a:ext>
            </a:extLst>
          </p:cNvPr>
          <p:cNvSpPr/>
          <p:nvPr/>
        </p:nvSpPr>
        <p:spPr>
          <a:xfrm>
            <a:off x="4441929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214AB84-B87D-47D5-AF3C-E70CD3731807}"/>
              </a:ext>
            </a:extLst>
          </p:cNvPr>
          <p:cNvSpPr/>
          <p:nvPr/>
        </p:nvSpPr>
        <p:spPr bwMode="gray">
          <a:xfrm>
            <a:off x="4332000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6" name="Content Placeholder 46">
            <a:extLst>
              <a:ext uri="{FF2B5EF4-FFF2-40B4-BE49-F238E27FC236}">
                <a16:creationId xmlns:a16="http://schemas.microsoft.com/office/drawing/2014/main" id="{A3FD92AA-817C-4004-93AB-67198D70E0A0}"/>
              </a:ext>
            </a:extLst>
          </p:cNvPr>
          <p:cNvSpPr>
            <a:spLocks noGrp="1"/>
          </p:cNvSpPr>
          <p:nvPr>
            <p:ph sz="quarter" idx="57" hasCustomPrompt="1"/>
          </p:nvPr>
        </p:nvSpPr>
        <p:spPr>
          <a:xfrm>
            <a:off x="4419441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29" name="Content Placeholder 102">
            <a:extLst>
              <a:ext uri="{FF2B5EF4-FFF2-40B4-BE49-F238E27FC236}">
                <a16:creationId xmlns:a16="http://schemas.microsoft.com/office/drawing/2014/main" id="{EE93C8C8-A153-4787-A64B-C905D15577AA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7372072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C39DC3D3-96B8-4768-87D9-275C243C54DA}"/>
              </a:ext>
            </a:extLst>
          </p:cNvPr>
          <p:cNvSpPr/>
          <p:nvPr/>
        </p:nvSpPr>
        <p:spPr>
          <a:xfrm>
            <a:off x="4441929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9EDFE37-4EFE-467D-B1E4-94549E8C0360}"/>
              </a:ext>
            </a:extLst>
          </p:cNvPr>
          <p:cNvSpPr/>
          <p:nvPr/>
        </p:nvSpPr>
        <p:spPr bwMode="gray">
          <a:xfrm>
            <a:off x="8171152" y="1665288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2" name="Content Placeholder 46">
            <a:extLst>
              <a:ext uri="{FF2B5EF4-FFF2-40B4-BE49-F238E27FC236}">
                <a16:creationId xmlns:a16="http://schemas.microsoft.com/office/drawing/2014/main" id="{5447ECB7-DD27-4E7F-98E5-9F6A9B5A3057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8258593" y="1759725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35" name="Content Placeholder 102">
            <a:extLst>
              <a:ext uri="{FF2B5EF4-FFF2-40B4-BE49-F238E27FC236}">
                <a16:creationId xmlns:a16="http://schemas.microsoft.com/office/drawing/2014/main" id="{58C2E952-68A4-4420-9F53-40FEFA901FA9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11211224" y="1759726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BCB73A5-5A70-41CC-8497-6DCBD6C206F9}"/>
              </a:ext>
            </a:extLst>
          </p:cNvPr>
          <p:cNvSpPr/>
          <p:nvPr/>
        </p:nvSpPr>
        <p:spPr>
          <a:xfrm>
            <a:off x="8281081" y="2511664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1101726-726F-4E4C-B379-53345EFA180B}"/>
              </a:ext>
            </a:extLst>
          </p:cNvPr>
          <p:cNvSpPr/>
          <p:nvPr/>
        </p:nvSpPr>
        <p:spPr bwMode="gray">
          <a:xfrm>
            <a:off x="8171152" y="4067200"/>
            <a:ext cx="3528000" cy="223200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38" name="Content Placeholder 46">
            <a:extLst>
              <a:ext uri="{FF2B5EF4-FFF2-40B4-BE49-F238E27FC236}">
                <a16:creationId xmlns:a16="http://schemas.microsoft.com/office/drawing/2014/main" id="{D33AC785-D27F-41BC-96AF-5C2A79672E8F}"/>
              </a:ext>
            </a:extLst>
          </p:cNvPr>
          <p:cNvSpPr>
            <a:spLocks noGrp="1"/>
          </p:cNvSpPr>
          <p:nvPr>
            <p:ph sz="quarter" idx="65" hasCustomPrompt="1"/>
          </p:nvPr>
        </p:nvSpPr>
        <p:spPr>
          <a:xfrm>
            <a:off x="8258593" y="4161637"/>
            <a:ext cx="648000" cy="64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141" name="Content Placeholder 102">
            <a:extLst>
              <a:ext uri="{FF2B5EF4-FFF2-40B4-BE49-F238E27FC236}">
                <a16:creationId xmlns:a16="http://schemas.microsoft.com/office/drawing/2014/main" id="{EAD2D590-0A57-4BBE-B0A6-D4B4E9C28A5D}"/>
              </a:ext>
            </a:extLst>
          </p:cNvPr>
          <p:cNvSpPr>
            <a:spLocks noGrp="1"/>
          </p:cNvSpPr>
          <p:nvPr>
            <p:ph sz="quarter" idx="68" hasCustomPrompt="1"/>
          </p:nvPr>
        </p:nvSpPr>
        <p:spPr>
          <a:xfrm>
            <a:off x="11211224" y="4161638"/>
            <a:ext cx="378000" cy="190800"/>
          </a:xfrm>
        </p:spPr>
        <p:txBody>
          <a:bodyPr anchor="ctr"/>
          <a:lstStyle>
            <a:lvl1pPr>
              <a:defRPr sz="800"/>
            </a:lvl1pPr>
          </a:lstStyle>
          <a:p>
            <a:pPr lvl="0"/>
            <a:r>
              <a:rPr lang="en-US" dirty="0"/>
              <a:t>[FLAG]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3732BE4-C29A-453E-AE1D-DDD5A5E21FCC}"/>
              </a:ext>
            </a:extLst>
          </p:cNvPr>
          <p:cNvSpPr/>
          <p:nvPr/>
        </p:nvSpPr>
        <p:spPr>
          <a:xfrm>
            <a:off x="8281081" y="4913576"/>
            <a:ext cx="33081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467" noProof="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C9597C5-E7EB-41FA-8514-EA91E946222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11580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A812EB5-FDA0-413B-BABF-9370F417CA0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441672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9BCE557-D7BB-460B-ADE2-A071DE9B8925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80824" y="2665105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FEE6894-4AED-4D2B-9BFB-0F20B1D839D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580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02EF0E9-6D8B-490E-A603-94C6C4F59E50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441672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0A556CC-0260-4898-AB51-BB7F71D5FDC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280824" y="5067446"/>
            <a:ext cx="3308400" cy="11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mmary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97A4157-AF8E-40F0-8906-70665CE328D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373708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D89FA7CA-37E5-4EFD-B912-C541714DF1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205570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0F80E3A-A17C-41B7-850D-2E8034F17F6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44722" y="1759726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40CB5D4-1811-46F2-919B-08E4739F39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373708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A882FEF-9945-4E51-8008-6368B8B1952B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205570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FDB2638-C759-415F-BD3B-6F7CB0A2CEE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044722" y="4150172"/>
            <a:ext cx="2080800" cy="576000"/>
          </a:xfrm>
        </p:spPr>
        <p:txBody>
          <a:bodyPr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 dirty="0"/>
              <a:t>[NAME]</a:t>
            </a:r>
          </a:p>
          <a:p>
            <a:pPr lvl="0"/>
            <a:r>
              <a:rPr lang="en-US" dirty="0"/>
              <a:t>[TITLE]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[OFFERING]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5B010C28-7BC2-454F-BD05-B79E118BF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1D0F7F9D-9FA6-425A-AF09-9B642A770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14128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_eight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00" b="0" i="0" baseline="0" dirty="0">
              <a:solidFill>
                <a:sysClr val="windowText" lastClr="000000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699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0" name="Bildplatzhalter 10"/>
          <p:cNvSpPr>
            <a:spLocks noGrp="1"/>
          </p:cNvSpPr>
          <p:nvPr>
            <p:ph type="pic" sz="quarter" idx="55" hasCustomPrompt="1"/>
          </p:nvPr>
        </p:nvSpPr>
        <p:spPr>
          <a:xfrm>
            <a:off x="4699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1" name="Bildplatzhalter 10"/>
          <p:cNvSpPr>
            <a:spLocks noGrp="1"/>
          </p:cNvSpPr>
          <p:nvPr>
            <p:ph type="pic" sz="quarter" idx="56" hasCustomPrompt="1"/>
          </p:nvPr>
        </p:nvSpPr>
        <p:spPr>
          <a:xfrm>
            <a:off x="4699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8" name="Bildplatzhalter 10"/>
          <p:cNvSpPr>
            <a:spLocks noGrp="1"/>
          </p:cNvSpPr>
          <p:nvPr>
            <p:ph type="pic" sz="quarter" idx="57" hasCustomPrompt="1"/>
          </p:nvPr>
        </p:nvSpPr>
        <p:spPr>
          <a:xfrm>
            <a:off x="4699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39" name="Bildplatzhalter 10"/>
          <p:cNvSpPr>
            <a:spLocks noGrp="1"/>
          </p:cNvSpPr>
          <p:nvPr>
            <p:ph type="pic" sz="quarter" idx="58" hasCustomPrompt="1"/>
          </p:nvPr>
        </p:nvSpPr>
        <p:spPr>
          <a:xfrm>
            <a:off x="6322100" y="1665289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1" name="Bildplatzhalter 10"/>
          <p:cNvSpPr>
            <a:spLocks noGrp="1"/>
          </p:cNvSpPr>
          <p:nvPr>
            <p:ph type="pic" sz="quarter" idx="59" hasCustomPrompt="1"/>
          </p:nvPr>
        </p:nvSpPr>
        <p:spPr>
          <a:xfrm>
            <a:off x="6322100" y="2846926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8" name="Bildplatzhalter 10"/>
          <p:cNvSpPr>
            <a:spLocks noGrp="1"/>
          </p:cNvSpPr>
          <p:nvPr>
            <p:ph type="pic" sz="quarter" idx="60" hasCustomPrompt="1"/>
          </p:nvPr>
        </p:nvSpPr>
        <p:spPr>
          <a:xfrm>
            <a:off x="6322100" y="4028563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49" name="Bildplatzhalter 10"/>
          <p:cNvSpPr>
            <a:spLocks noGrp="1"/>
          </p:cNvSpPr>
          <p:nvPr>
            <p:ph type="pic" sz="quarter" idx="61" hasCustomPrompt="1"/>
          </p:nvPr>
        </p:nvSpPr>
        <p:spPr>
          <a:xfrm>
            <a:off x="6322100" y="5210201"/>
            <a:ext cx="1090800" cy="10889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txBody>
          <a:bodyPr anchor="ctr"/>
          <a:lstStyle>
            <a:lvl1pPr algn="ctr">
              <a:defRPr sz="1000" baseline="0"/>
            </a:lvl1pPr>
          </a:lstStyle>
          <a:p>
            <a:pPr lvl="0"/>
            <a:r>
              <a:rPr lang="en-US" dirty="0"/>
              <a:t>[PHOTO]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62"/>
          </p:nvPr>
        </p:nvSpPr>
        <p:spPr>
          <a:xfrm>
            <a:off x="1793775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63"/>
          </p:nvPr>
        </p:nvSpPr>
        <p:spPr>
          <a:xfrm>
            <a:off x="1793775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64"/>
          </p:nvPr>
        </p:nvSpPr>
        <p:spPr>
          <a:xfrm>
            <a:off x="1793775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65"/>
          </p:nvPr>
        </p:nvSpPr>
        <p:spPr>
          <a:xfrm>
            <a:off x="1793775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5"/>
          <p:cNvSpPr>
            <a:spLocks noGrp="1"/>
          </p:cNvSpPr>
          <p:nvPr>
            <p:ph type="body" sz="quarter" idx="66"/>
          </p:nvPr>
        </p:nvSpPr>
        <p:spPr>
          <a:xfrm>
            <a:off x="7647537" y="1665288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67"/>
          </p:nvPr>
        </p:nvSpPr>
        <p:spPr>
          <a:xfrm>
            <a:off x="7647537" y="2846925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68"/>
          </p:nvPr>
        </p:nvSpPr>
        <p:spPr>
          <a:xfrm>
            <a:off x="7647537" y="4028562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5"/>
          <p:cNvSpPr>
            <a:spLocks noGrp="1"/>
          </p:cNvSpPr>
          <p:nvPr>
            <p:ph type="body" sz="quarter" idx="69"/>
          </p:nvPr>
        </p:nvSpPr>
        <p:spPr>
          <a:xfrm>
            <a:off x="7647537" y="5210200"/>
            <a:ext cx="4074563" cy="1089000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7B4B2B1-44DD-4C3E-BC0F-DA64BD80C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21766DA-0807-4B66-BDE8-AEBAC4FAF3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6459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15F302A-0D50-4962-B3B3-E2B21EAD4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30982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06EFC3C-CD14-42F0-B726-607447B574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718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559641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5581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101E32-6C7E-4E93-A018-8B8018351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326" y="457200"/>
            <a:ext cx="2283750" cy="100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4740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 </a:t>
            </a:r>
          </a:p>
          <a:p>
            <a:r>
              <a:rPr lang="da-DK" dirty="0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D5CF72-254B-4873-9EBC-70FB215ADE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457761"/>
            <a:ext cx="2283232" cy="10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719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AF491E-D6D4-48F7-8205-2BE2C646945F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1287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70362-7795-48BD-8762-CF3789F0B2C0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36245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F9EA60-BF4A-4AF1-9F79-4203FB78DDB1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782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EAA72E-058E-44E5-881C-C9D91C836D18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dark blu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DD891A-D7E2-4B5E-9BDA-62D785EEF92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268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636573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0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1" r:id="rId3"/>
    <p:sldLayoutId id="2147483707" r:id="rId4"/>
    <p:sldLayoutId id="2147483796" r:id="rId5"/>
    <p:sldLayoutId id="2147483797" r:id="rId6"/>
    <p:sldLayoutId id="2147483798" r:id="rId7"/>
    <p:sldLayoutId id="2147483706" r:id="rId8"/>
    <p:sldLayoutId id="2147483804" r:id="rId9"/>
    <p:sldLayoutId id="2147483762" r:id="rId10"/>
    <p:sldLayoutId id="2147483802" r:id="rId11"/>
    <p:sldLayoutId id="2147483799" r:id="rId12"/>
    <p:sldLayoutId id="2147483805" r:id="rId13"/>
    <p:sldLayoutId id="2147483803" r:id="rId14"/>
    <p:sldLayoutId id="2147483800" r:id="rId15"/>
    <p:sldLayoutId id="2147483801" r:id="rId16"/>
    <p:sldLayoutId id="2147483763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1" r:id="rId33"/>
    <p:sldLayoutId id="2147483782" r:id="rId34"/>
    <p:sldLayoutId id="2147483783" r:id="rId35"/>
    <p:sldLayoutId id="2147483784" r:id="rId36"/>
    <p:sldLayoutId id="2147483806" r:id="rId37"/>
    <p:sldLayoutId id="2147483807" r:id="rId38"/>
    <p:sldLayoutId id="2147483808" r:id="rId39"/>
    <p:sldLayoutId id="2147483786" r:id="rId40"/>
    <p:sldLayoutId id="2147483787" r:id="rId41"/>
    <p:sldLayoutId id="2147483788" r:id="rId42"/>
    <p:sldLayoutId id="2147483789" r:id="rId43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5098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296">
          <p15:clr>
            <a:srgbClr val="F26B43"/>
          </p15:clr>
        </p15:guide>
        <p15:guide id="27" pos="7384">
          <p15:clr>
            <a:srgbClr val="F26B43"/>
          </p15:clr>
        </p15:guide>
        <p15:guide id="28" orient="horz" pos="1071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39" pos="3840">
          <p15:clr>
            <a:srgbClr val="F26B43"/>
          </p15:clr>
        </p15:guide>
        <p15:guide id="40" pos="6299">
          <p15:clr>
            <a:srgbClr val="F26B43"/>
          </p15:clr>
        </p15:guide>
        <p15:guide id="41" orient="horz" pos="104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B1AEB7-C3EE-4F9C-8F50-F36029BE18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CDE937F-5BC7-42FC-8ACC-F52970D1C43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s-IS" dirty="0"/>
              <a:t>Systems Engineering</a:t>
            </a:r>
            <a:endParaRPr lang="da-DK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1F3D28-58E3-44EC-9540-D7E62EF8F0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s-IS" dirty="0"/>
              <a:t>Microservices from the ground up</a:t>
            </a:r>
            <a:endParaRPr lang="da-DK" dirty="0"/>
          </a:p>
        </p:txBody>
      </p:sp>
      <p:pic>
        <p:nvPicPr>
          <p:cNvPr id="18" name="Picture 15">
            <a:extLst>
              <a:ext uri="{FF2B5EF4-FFF2-40B4-BE49-F238E27FC236}">
                <a16:creationId xmlns:a16="http://schemas.microsoft.com/office/drawing/2014/main" id="{0C02B024-D8F7-495F-B746-405967E93D0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/>
          <a:stretch/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57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5C556C4-3F4B-4FC6-ACF9-7339460ED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Agenda</a:t>
            </a:r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035295-6CF9-4DA5-B613-28BB55C2D3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23535" y="3840983"/>
            <a:ext cx="6545140" cy="1566532"/>
          </a:xfrm>
        </p:spPr>
        <p:txBody>
          <a:bodyPr/>
          <a:lstStyle/>
          <a:p>
            <a:r>
              <a:rPr lang="is-IS" dirty="0">
                <a:latin typeface="+mj-lt"/>
              </a:rPr>
              <a:t>Microservices</a:t>
            </a:r>
          </a:p>
          <a:p>
            <a:r>
              <a:rPr lang="is-IS" dirty="0">
                <a:latin typeface="+mj-lt"/>
              </a:rPr>
              <a:t>Container Orchestration</a:t>
            </a:r>
          </a:p>
          <a:p>
            <a:r>
              <a:rPr lang="is-IS" dirty="0">
                <a:latin typeface="+mj-lt"/>
              </a:rPr>
              <a:t>Cloud providers</a:t>
            </a:r>
            <a:endParaRPr lang="da-DK" dirty="0">
              <a:latin typeface="+mj-lt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40ABAD7-B643-4B5B-85AB-37F897021F27}"/>
              </a:ext>
            </a:extLst>
          </p:cNvPr>
          <p:cNvSpPr txBox="1">
            <a:spLocks/>
          </p:cNvSpPr>
          <p:nvPr/>
        </p:nvSpPr>
        <p:spPr bwMode="gray">
          <a:xfrm>
            <a:off x="469900" y="3840983"/>
            <a:ext cx="2125816" cy="15665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 b="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609585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667" b="1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121917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1828754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2438339" indent="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047924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s-IS" dirty="0">
                <a:solidFill>
                  <a:srgbClr val="2C5234"/>
                </a:solidFill>
              </a:rPr>
              <a:t>Docker</a:t>
            </a:r>
          </a:p>
          <a:p>
            <a:pPr algn="r"/>
            <a:r>
              <a:rPr lang="is-IS" dirty="0">
                <a:solidFill>
                  <a:srgbClr val="2C5234"/>
                </a:solidFill>
              </a:rPr>
              <a:t>Kubernetes</a:t>
            </a:r>
          </a:p>
          <a:p>
            <a:pPr algn="r"/>
            <a:r>
              <a:rPr lang="is-IS" dirty="0">
                <a:solidFill>
                  <a:srgbClr val="2C5234"/>
                </a:solidFill>
              </a:rPr>
              <a:t>Terraform</a:t>
            </a:r>
            <a:endParaRPr lang="da-DK" dirty="0">
              <a:solidFill>
                <a:srgbClr val="2C52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435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EBEB6DB-5DC1-42DA-A441-0E6F2D6B4E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5846574" cy="4708525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Focused purpos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Stateles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is-IS" dirty="0"/>
              <a:t>Elastic</a:t>
            </a:r>
            <a:endParaRPr lang="da-DK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5E24B97-4DF4-4829-A6FD-A723EAB61A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0484" y="317500"/>
            <a:ext cx="10708216" cy="698500"/>
          </a:xfrm>
        </p:spPr>
        <p:txBody>
          <a:bodyPr/>
          <a:lstStyle/>
          <a:p>
            <a:r>
              <a:rPr lang="is-IS" sz="3200" dirty="0"/>
              <a:t>Microservices</a:t>
            </a:r>
            <a:endParaRPr lang="da-DK" sz="3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D49961-9D66-4027-BAF6-95C05D597384}"/>
              </a:ext>
            </a:extLst>
          </p:cNvPr>
          <p:cNvSpPr/>
          <p:nvPr/>
        </p:nvSpPr>
        <p:spPr bwMode="gray">
          <a:xfrm>
            <a:off x="7349772" y="698629"/>
            <a:ext cx="3465711" cy="1832128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t"/>
          <a:lstStyle/>
          <a:p>
            <a:pPr marL="514350" indent="-5143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is-IS" sz="4800" b="1" dirty="0">
                <a:solidFill>
                  <a:schemeClr val="bg1"/>
                </a:solidFill>
              </a:rPr>
              <a:t>Order Pizza</a:t>
            </a:r>
          </a:p>
          <a:p>
            <a:pPr marL="514350" indent="-5143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is-IS" sz="4800" b="1" dirty="0">
                <a:solidFill>
                  <a:schemeClr val="bg1"/>
                </a:solidFill>
              </a:rPr>
              <a:t>Make Pizza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F803459-E889-4510-BDD8-45DF28AEFD5C}"/>
              </a:ext>
            </a:extLst>
          </p:cNvPr>
          <p:cNvGrpSpPr/>
          <p:nvPr/>
        </p:nvGrpSpPr>
        <p:grpSpPr>
          <a:xfrm>
            <a:off x="7044972" y="4593866"/>
            <a:ext cx="1922047" cy="801841"/>
            <a:chOff x="6956482" y="3944937"/>
            <a:chExt cx="1922047" cy="80184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A6A24B3-592A-4C4B-AF54-0EF3884787AC}"/>
                </a:ext>
              </a:extLst>
            </p:cNvPr>
            <p:cNvSpPr/>
            <p:nvPr/>
          </p:nvSpPr>
          <p:spPr bwMode="gray">
            <a:xfrm>
              <a:off x="7261282" y="42497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8D68291-345D-474E-AE1E-9E945291C16F}"/>
                </a:ext>
              </a:extLst>
            </p:cNvPr>
            <p:cNvSpPr/>
            <p:nvPr/>
          </p:nvSpPr>
          <p:spPr bwMode="gray">
            <a:xfrm>
              <a:off x="7108882" y="40973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0AC64B1-5BA6-4FDB-923E-5BC0E3ED8F14}"/>
                </a:ext>
              </a:extLst>
            </p:cNvPr>
            <p:cNvSpPr/>
            <p:nvPr/>
          </p:nvSpPr>
          <p:spPr bwMode="gray">
            <a:xfrm>
              <a:off x="6956482" y="39449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6FB8F4A-5840-4652-8EE6-213D828D4E62}"/>
              </a:ext>
            </a:extLst>
          </p:cNvPr>
          <p:cNvGrpSpPr/>
          <p:nvPr/>
        </p:nvGrpSpPr>
        <p:grpSpPr>
          <a:xfrm>
            <a:off x="9444043" y="4593866"/>
            <a:ext cx="1922047" cy="801841"/>
            <a:chOff x="6956482" y="3944937"/>
            <a:chExt cx="1922047" cy="80184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A7E9A90-C64D-44E8-B142-99459D0F6AE9}"/>
                </a:ext>
              </a:extLst>
            </p:cNvPr>
            <p:cNvSpPr/>
            <p:nvPr/>
          </p:nvSpPr>
          <p:spPr bwMode="gray">
            <a:xfrm>
              <a:off x="7261282" y="42497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D7E034D-715B-460F-B8E6-7CBA1475AAD1}"/>
                </a:ext>
              </a:extLst>
            </p:cNvPr>
            <p:cNvSpPr/>
            <p:nvPr/>
          </p:nvSpPr>
          <p:spPr bwMode="gray">
            <a:xfrm>
              <a:off x="7108882" y="40973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Order pizza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A85207-A48D-4188-B3D8-29E6BED2472A}"/>
                </a:ext>
              </a:extLst>
            </p:cNvPr>
            <p:cNvSpPr/>
            <p:nvPr/>
          </p:nvSpPr>
          <p:spPr bwMode="gray">
            <a:xfrm>
              <a:off x="6956482" y="3944937"/>
              <a:ext cx="1617247" cy="49704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</a:pPr>
              <a:r>
                <a:rPr lang="is-IS" sz="2400" b="1" dirty="0">
                  <a:solidFill>
                    <a:schemeClr val="bg1"/>
                  </a:solidFill>
                </a:rPr>
                <a:t>Make pizza</a:t>
              </a:r>
            </a:p>
          </p:txBody>
        </p:sp>
      </p:grpSp>
      <p:sp>
        <p:nvSpPr>
          <p:cNvPr id="25" name="Arrow: Down 24">
            <a:extLst>
              <a:ext uri="{FF2B5EF4-FFF2-40B4-BE49-F238E27FC236}">
                <a16:creationId xmlns:a16="http://schemas.microsoft.com/office/drawing/2014/main" id="{6E6C5732-D41E-4C9A-8057-74206CC710C0}"/>
              </a:ext>
            </a:extLst>
          </p:cNvPr>
          <p:cNvSpPr/>
          <p:nvPr/>
        </p:nvSpPr>
        <p:spPr bwMode="gray">
          <a:xfrm>
            <a:off x="8858943" y="3111910"/>
            <a:ext cx="447368" cy="76691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561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97F0E8F-D514-4706-B78D-FF24D2BB2A97}"/>
              </a:ext>
            </a:extLst>
          </p:cNvPr>
          <p:cNvGrpSpPr/>
          <p:nvPr/>
        </p:nvGrpSpPr>
        <p:grpSpPr>
          <a:xfrm>
            <a:off x="920449" y="915696"/>
            <a:ext cx="9437054" cy="5160363"/>
            <a:chOff x="662485" y="2131381"/>
            <a:chExt cx="8670520" cy="481731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747D0-6D88-41E3-994E-F8DC627FA9A6}"/>
                </a:ext>
              </a:extLst>
            </p:cNvPr>
            <p:cNvSpPr/>
            <p:nvPr/>
          </p:nvSpPr>
          <p:spPr bwMode="gray">
            <a:xfrm>
              <a:off x="662485" y="2131381"/>
              <a:ext cx="8670520" cy="4817315"/>
            </a:xfrm>
            <a:prstGeom prst="rect">
              <a:avLst/>
            </a:prstGeom>
            <a:solidFill>
              <a:schemeClr val="accent3">
                <a:alpha val="30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>
                  <a:solidFill>
                    <a:schemeClr val="bg1"/>
                  </a:solidFill>
                </a:rPr>
                <a:t>Kubernetes cluster</a:t>
              </a:r>
              <a:endParaRPr lang="da-DK" sz="1600" b="1">
                <a:solidFill>
                  <a:schemeClr val="bg1"/>
                </a:solidFill>
              </a:endParaRPr>
            </a:p>
          </p:txBody>
        </p:sp>
        <p:pic>
          <p:nvPicPr>
            <p:cNvPr id="8" name="Picture 7" descr="Icon&#10;&#10;Description automatically generated">
              <a:extLst>
                <a:ext uri="{FF2B5EF4-FFF2-40B4-BE49-F238E27FC236}">
                  <a16:creationId xmlns:a16="http://schemas.microsoft.com/office/drawing/2014/main" id="{9C85CB7B-64C9-4000-A041-CD2FEC4305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23935" y="2171998"/>
              <a:ext cx="274712" cy="266700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B6068CF-DCFC-4AE9-AD35-C3F083600C3E}"/>
              </a:ext>
            </a:extLst>
          </p:cNvPr>
          <p:cNvGrpSpPr/>
          <p:nvPr/>
        </p:nvGrpSpPr>
        <p:grpSpPr>
          <a:xfrm>
            <a:off x="5601437" y="3426465"/>
            <a:ext cx="1712529" cy="828772"/>
            <a:chOff x="4211995" y="706509"/>
            <a:chExt cx="1712529" cy="828772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B3BD923E-30B3-4207-AB0E-682876CBB684}"/>
                </a:ext>
              </a:extLst>
            </p:cNvPr>
            <p:cNvCxnSpPr>
              <a:cxnSpLocks/>
              <a:stCxn id="21" idx="2"/>
              <a:endCxn id="50" idx="0"/>
            </p:cNvCxnSpPr>
            <p:nvPr/>
          </p:nvCxnSpPr>
          <p:spPr>
            <a:xfrm flipH="1">
              <a:off x="4211995" y="706509"/>
              <a:ext cx="1712529" cy="805454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1E87A33-B1D5-47BC-8009-04B61ED16609}"/>
                </a:ext>
              </a:extLst>
            </p:cNvPr>
            <p:cNvSpPr txBox="1"/>
            <p:nvPr/>
          </p:nvSpPr>
          <p:spPr bwMode="gray">
            <a:xfrm>
              <a:off x="5068259" y="132562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D8439DF-47D7-493E-BE6E-CFED61E43156}"/>
              </a:ext>
            </a:extLst>
          </p:cNvPr>
          <p:cNvSpPr/>
          <p:nvPr/>
        </p:nvSpPr>
        <p:spPr bwMode="gray">
          <a:xfrm>
            <a:off x="5106874" y="4231919"/>
            <a:ext cx="989126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RabbitMQ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5A5F9B-293B-4AF1-8B19-C8B0B5423AF5}"/>
              </a:ext>
            </a:extLst>
          </p:cNvPr>
          <p:cNvGrpSpPr/>
          <p:nvPr/>
        </p:nvGrpSpPr>
        <p:grpSpPr>
          <a:xfrm>
            <a:off x="2611485" y="3616033"/>
            <a:ext cx="2495389" cy="1094385"/>
            <a:chOff x="2983528" y="-32909"/>
            <a:chExt cx="2495391" cy="1094385"/>
          </a:xfrm>
        </p:grpSpPr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E5A0B0F8-2EA9-43A0-A5F2-6C7B1783391F}"/>
                </a:ext>
              </a:extLst>
            </p:cNvPr>
            <p:cNvCxnSpPr>
              <a:cxnSpLocks/>
              <a:stCxn id="50" idx="1"/>
              <a:endCxn id="58" idx="3"/>
            </p:cNvCxnSpPr>
            <p:nvPr/>
          </p:nvCxnSpPr>
          <p:spPr>
            <a:xfrm flipH="1">
              <a:off x="2983528" y="841595"/>
              <a:ext cx="2495391" cy="219881"/>
            </a:xfrm>
            <a:prstGeom prst="straightConnector1">
              <a:avLst/>
            </a:prstGeom>
            <a:ln w="19050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CE5573-7789-4299-957C-E2A3BE9AAAA0}"/>
                </a:ext>
              </a:extLst>
            </p:cNvPr>
            <p:cNvSpPr txBox="1"/>
            <p:nvPr/>
          </p:nvSpPr>
          <p:spPr bwMode="gray">
            <a:xfrm>
              <a:off x="4538018" y="-32909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AQMP</a:t>
              </a:r>
              <a:endParaRPr lang="da-DK" dirty="0"/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7856B235-2F4D-46CD-83DD-C63BEA79F723}"/>
              </a:ext>
            </a:extLst>
          </p:cNvPr>
          <p:cNvSpPr/>
          <p:nvPr/>
        </p:nvSpPr>
        <p:spPr bwMode="gray">
          <a:xfrm>
            <a:off x="10579219" y="3213116"/>
            <a:ext cx="833149" cy="517236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is-IS" sz="1600" b="1">
                <a:solidFill>
                  <a:schemeClr val="bg1"/>
                </a:solidFill>
              </a:rPr>
              <a:t>Client</a:t>
            </a:r>
            <a:endParaRPr lang="da-DK" sz="1600" b="1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1CE3FDD-854E-4A80-BF09-7D9C9DF83A5A}"/>
              </a:ext>
            </a:extLst>
          </p:cNvPr>
          <p:cNvGrpSpPr/>
          <p:nvPr/>
        </p:nvGrpSpPr>
        <p:grpSpPr>
          <a:xfrm>
            <a:off x="7882826" y="2820448"/>
            <a:ext cx="2696392" cy="651287"/>
            <a:chOff x="5328417" y="2281148"/>
            <a:chExt cx="2189031" cy="776743"/>
          </a:xfrm>
        </p:grpSpPr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EDB7C801-9C40-45B2-A39B-27CFBB114F4F}"/>
                </a:ext>
              </a:extLst>
            </p:cNvPr>
            <p:cNvCxnSpPr>
              <a:cxnSpLocks/>
              <a:stCxn id="64" idx="1"/>
              <a:endCxn id="21" idx="3"/>
            </p:cNvCxnSpPr>
            <p:nvPr/>
          </p:nvCxnSpPr>
          <p:spPr>
            <a:xfrm flipH="1" flipV="1">
              <a:off x="5328417" y="2373133"/>
              <a:ext cx="2189031" cy="684758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3587449-5A43-4B6F-980C-14E6533E7F54}"/>
                </a:ext>
              </a:extLst>
            </p:cNvPr>
            <p:cNvSpPr txBox="1"/>
            <p:nvPr/>
          </p:nvSpPr>
          <p:spPr bwMode="gray">
            <a:xfrm>
              <a:off x="6171924" y="2281148"/>
              <a:ext cx="590550" cy="209653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dirty="0"/>
                <a:t>HTTP</a:t>
              </a:r>
              <a:endParaRPr lang="da-DK" dirty="0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5B825D2-F8D6-45DC-8F4E-FE08D0E6134D}"/>
              </a:ext>
            </a:extLst>
          </p:cNvPr>
          <p:cNvGrpSpPr/>
          <p:nvPr/>
        </p:nvGrpSpPr>
        <p:grpSpPr>
          <a:xfrm>
            <a:off x="6745104" y="2102748"/>
            <a:ext cx="1137723" cy="1323717"/>
            <a:chOff x="3853021" y="640612"/>
            <a:chExt cx="1137723" cy="1323717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240263B8-D736-45DC-ABDE-DCED67F9482C}"/>
                </a:ext>
              </a:extLst>
            </p:cNvPr>
            <p:cNvGrpSpPr/>
            <p:nvPr/>
          </p:nvGrpSpPr>
          <p:grpSpPr>
            <a:xfrm>
              <a:off x="3853021" y="906548"/>
              <a:ext cx="1137723" cy="1057781"/>
              <a:chOff x="3853021" y="906548"/>
              <a:chExt cx="1137723" cy="105778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C552D86B-CAFF-48AC-A846-394B48243B3C}"/>
                  </a:ext>
                </a:extLst>
              </p:cNvPr>
              <p:cNvSpPr/>
              <p:nvPr/>
            </p:nvSpPr>
            <p:spPr bwMode="gray">
              <a:xfrm>
                <a:off x="3853021" y="906548"/>
                <a:ext cx="1137723" cy="1057781"/>
              </a:xfrm>
              <a:prstGeom prst="rect">
                <a:avLst/>
              </a:prstGeom>
              <a:solidFill>
                <a:schemeClr val="accent3">
                  <a:alpha val="40000"/>
                </a:schemeClr>
              </a:solidFill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36000" tIns="0" rIns="88900" bIns="88900" rtlCol="0" anchor="t"/>
              <a:lstStyle/>
              <a:p>
                <a:pPr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is-IS" sz="1600" b="1" dirty="0">
                    <a:solidFill>
                      <a:schemeClr val="bg1"/>
                    </a:solidFill>
                  </a:rPr>
                  <a:t>Service</a:t>
                </a:r>
                <a:endParaRPr lang="da-DK" sz="16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7E16D1D7-D356-49DA-AE01-426E3DABFC01}"/>
                  </a:ext>
                </a:extLst>
              </p:cNvPr>
              <p:cNvGrpSpPr/>
              <p:nvPr/>
            </p:nvGrpSpPr>
            <p:grpSpPr>
              <a:xfrm>
                <a:off x="3935898" y="1251830"/>
                <a:ext cx="934997" cy="602962"/>
                <a:chOff x="3935898" y="1251830"/>
                <a:chExt cx="934997" cy="602962"/>
              </a:xfrm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F0BAB5AA-9493-4F42-BED7-9EB2FF54241D}"/>
                    </a:ext>
                  </a:extLst>
                </p:cNvPr>
                <p:cNvSpPr/>
                <p:nvPr/>
              </p:nvSpPr>
              <p:spPr bwMode="gray">
                <a:xfrm>
                  <a:off x="4037746" y="1251830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da-DK" sz="16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460A3323-9E7F-42C2-AA95-AE0CAFA1B0D9}"/>
                    </a:ext>
                  </a:extLst>
                </p:cNvPr>
                <p:cNvSpPr/>
                <p:nvPr/>
              </p:nvSpPr>
              <p:spPr bwMode="gray">
                <a:xfrm>
                  <a:off x="3983523" y="1294693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da-DK" sz="16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C22D0508-E87B-4103-BB96-0147AF028CF7}"/>
                    </a:ext>
                  </a:extLst>
                </p:cNvPr>
                <p:cNvSpPr/>
                <p:nvPr/>
              </p:nvSpPr>
              <p:spPr bwMode="gray">
                <a:xfrm>
                  <a:off x="3935898" y="1337556"/>
                  <a:ext cx="833149" cy="517236"/>
                </a:xfrm>
                <a:prstGeom prst="rect">
                  <a:avLst/>
                </a:prstGeom>
                <a:solidFill>
                  <a:schemeClr val="accent3"/>
                </a:solidFill>
                <a:ln w="19050" algn="ctr">
                  <a:solidFill>
                    <a:schemeClr val="accent1"/>
                  </a:solidFill>
                  <a:miter lim="800000"/>
                  <a:headEnd/>
                  <a:tailEnd/>
                </a:ln>
              </p:spPr>
              <p:txBody>
                <a:bodyPr wrap="square" lIns="36000" tIns="0" rIns="88900" bIns="88900" rtlCol="0" anchor="t"/>
                <a:lstStyle/>
                <a:p>
                  <a:pPr>
                    <a:lnSpc>
                      <a:spcPct val="106000"/>
                    </a:lnSpc>
                    <a:buFont typeface="Wingdings 2" pitchFamily="18" charset="2"/>
                    <a:buNone/>
                  </a:pPr>
                  <a:r>
                    <a:rPr lang="is-IS" sz="1600" b="1" dirty="0">
                      <a:solidFill>
                        <a:schemeClr val="bg1"/>
                      </a:solidFill>
                    </a:rPr>
                    <a:t>Pod</a:t>
                  </a:r>
                  <a:endParaRPr lang="da-DK" sz="1600" b="1" dirty="0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28" name="Picture 27" descr="Icon&#10;&#10;Description automatically generated">
                  <a:extLst>
                    <a:ext uri="{FF2B5EF4-FFF2-40B4-BE49-F238E27FC236}">
                      <a16:creationId xmlns:a16="http://schemas.microsoft.com/office/drawing/2014/main" id="{54209226-7A36-42D6-85B7-AB326913E2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008118" y="1578244"/>
                  <a:ext cx="295005" cy="207916"/>
                </a:xfrm>
                <a:prstGeom prst="rect">
                  <a:avLst/>
                </a:prstGeom>
                <a:effectLst>
                  <a:glow rad="12700">
                    <a:schemeClr val="bg1">
                      <a:alpha val="65000"/>
                    </a:schemeClr>
                  </a:glow>
                </a:effectLst>
              </p:spPr>
            </p:pic>
          </p:grp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B603C23D-D622-484A-8DD8-10F958F44146}"/>
                </a:ext>
              </a:extLst>
            </p:cNvPr>
            <p:cNvSpPr txBox="1"/>
            <p:nvPr/>
          </p:nvSpPr>
          <p:spPr bwMode="gray">
            <a:xfrm>
              <a:off x="4061876" y="640612"/>
              <a:ext cx="720012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Api</a:t>
              </a:r>
              <a:endParaRPr lang="da-DK" sz="14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0DA156D-0353-4348-9AB2-CB08612A7122}"/>
              </a:ext>
            </a:extLst>
          </p:cNvPr>
          <p:cNvGrpSpPr/>
          <p:nvPr/>
        </p:nvGrpSpPr>
        <p:grpSpPr>
          <a:xfrm>
            <a:off x="1422245" y="4007290"/>
            <a:ext cx="1189240" cy="1072280"/>
            <a:chOff x="705382" y="2685967"/>
            <a:chExt cx="833149" cy="75121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BE60CB1-43B1-4F56-BEFF-7B69CCDF221A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59" name="Picture 58" descr="Icon&#10;&#10;Description automatically generated">
              <a:extLst>
                <a:ext uri="{FF2B5EF4-FFF2-40B4-BE49-F238E27FC236}">
                  <a16:creationId xmlns:a16="http://schemas.microsoft.com/office/drawing/2014/main" id="{2B00B697-CCEE-4C25-B910-EF41F9A3A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8E1546DF-C754-48FF-97B6-1F92A9895628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50BEA00-1268-455E-8170-5ACD1BCC767B}"/>
              </a:ext>
            </a:extLst>
          </p:cNvPr>
          <p:cNvGrpSpPr/>
          <p:nvPr/>
        </p:nvGrpSpPr>
        <p:grpSpPr>
          <a:xfrm>
            <a:off x="1391425" y="2738762"/>
            <a:ext cx="1142921" cy="1030516"/>
            <a:chOff x="705382" y="2685967"/>
            <a:chExt cx="833149" cy="751210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534B4A0-8BBD-4D70-85BF-D7F87BC97818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62" name="Picture 61" descr="Icon&#10;&#10;Description automatically generated">
              <a:extLst>
                <a:ext uri="{FF2B5EF4-FFF2-40B4-BE49-F238E27FC236}">
                  <a16:creationId xmlns:a16="http://schemas.microsoft.com/office/drawing/2014/main" id="{4BFFA43A-0EAC-447F-8629-03CFD122D4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F18EFF9-AC21-4EDD-BFAD-96488D6F9115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660241E-B859-4148-B015-B7E74BE35A80}"/>
              </a:ext>
            </a:extLst>
          </p:cNvPr>
          <p:cNvGrpSpPr/>
          <p:nvPr/>
        </p:nvGrpSpPr>
        <p:grpSpPr>
          <a:xfrm>
            <a:off x="1391425" y="1462664"/>
            <a:ext cx="1151315" cy="1038085"/>
            <a:chOff x="705382" y="2685967"/>
            <a:chExt cx="833149" cy="751210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5685EF64-A6AA-4E07-A6A6-4B1AB703DC11}"/>
                </a:ext>
              </a:extLst>
            </p:cNvPr>
            <p:cNvSpPr/>
            <p:nvPr/>
          </p:nvSpPr>
          <p:spPr bwMode="gray">
            <a:xfrm>
              <a:off x="705382" y="2919941"/>
              <a:ext cx="833149" cy="517236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36000" tIns="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is-IS" sz="1600" b="1" dirty="0">
                  <a:solidFill>
                    <a:schemeClr val="bg1"/>
                  </a:solidFill>
                </a:rPr>
                <a:t>Pod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70" name="Picture 69" descr="Icon&#10;&#10;Description automatically generated">
              <a:extLst>
                <a:ext uri="{FF2B5EF4-FFF2-40B4-BE49-F238E27FC236}">
                  <a16:creationId xmlns:a16="http://schemas.microsoft.com/office/drawing/2014/main" id="{6F5F7004-FEE2-4DCA-AD1A-E5AB339DB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7602" y="3160629"/>
              <a:ext cx="295005" cy="207916"/>
            </a:xfrm>
            <a:prstGeom prst="rect">
              <a:avLst/>
            </a:prstGeom>
            <a:effectLst>
              <a:glow rad="12700">
                <a:schemeClr val="bg1">
                  <a:alpha val="65000"/>
                </a:schemeClr>
              </a:glow>
            </a:effectLst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CC83351-E60D-44B8-B777-384F5E793547}"/>
                </a:ext>
              </a:extLst>
            </p:cNvPr>
            <p:cNvSpPr txBox="1"/>
            <p:nvPr/>
          </p:nvSpPr>
          <p:spPr bwMode="gray">
            <a:xfrm>
              <a:off x="756892" y="2685967"/>
              <a:ext cx="730128" cy="22225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algn="ctr"/>
              <a:r>
                <a:rPr lang="is-IS" sz="1400" dirty="0"/>
                <a:t>Worker</a:t>
              </a:r>
              <a:endParaRPr lang="da-DK" sz="1400" dirty="0"/>
            </a:p>
          </p:txBody>
        </p:sp>
      </p:grp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747DCBF0-293E-43D8-A019-CE59A109E442}"/>
              </a:ext>
            </a:extLst>
          </p:cNvPr>
          <p:cNvCxnSpPr>
            <a:cxnSpLocks/>
            <a:stCxn id="50" idx="1"/>
            <a:endCxn id="69" idx="3"/>
          </p:cNvCxnSpPr>
          <p:nvPr/>
        </p:nvCxnSpPr>
        <p:spPr>
          <a:xfrm flipH="1" flipV="1">
            <a:off x="2542740" y="2143369"/>
            <a:ext cx="2564134" cy="2347168"/>
          </a:xfrm>
          <a:prstGeom prst="straightConnector1">
            <a:avLst/>
          </a:prstGeom>
          <a:ln w="19050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07A2B42A-B5F4-4961-BE65-C24413466D3D}"/>
              </a:ext>
            </a:extLst>
          </p:cNvPr>
          <p:cNvCxnSpPr>
            <a:cxnSpLocks/>
            <a:stCxn id="50" idx="1"/>
            <a:endCxn id="61" idx="3"/>
          </p:cNvCxnSpPr>
          <p:nvPr/>
        </p:nvCxnSpPr>
        <p:spPr>
          <a:xfrm flipH="1" flipV="1">
            <a:off x="2534346" y="3414504"/>
            <a:ext cx="2572528" cy="1076033"/>
          </a:xfrm>
          <a:prstGeom prst="straightConnector1">
            <a:avLst/>
          </a:prstGeom>
          <a:ln w="19050"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835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6162" y="1328311"/>
            <a:ext cx="5019675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53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380"/>
          <a:stretch/>
        </p:blipFill>
        <p:spPr>
          <a:xfrm>
            <a:off x="6937374" y="2158205"/>
            <a:ext cx="4038600" cy="304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2619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562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91C4C60-D549-4836-B4EA-77090436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Terraform – Instead of using the GUI</a:t>
            </a:r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ECAC6C-27D9-4725-BCF7-9FA166726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933" y="1328311"/>
            <a:ext cx="5019675" cy="4829175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DC38A1FE-9193-48F3-980D-C7570E0226BE}"/>
              </a:ext>
            </a:extLst>
          </p:cNvPr>
          <p:cNvSpPr/>
          <p:nvPr/>
        </p:nvSpPr>
        <p:spPr bwMode="gray">
          <a:xfrm>
            <a:off x="5888325" y="3105030"/>
            <a:ext cx="705332" cy="1146412"/>
          </a:xfrm>
          <a:prstGeom prst="chevron">
            <a:avLst>
              <a:gd name="adj" fmla="val 62286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a-DK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720707-6D7B-4382-95CD-40E75001B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74" y="1430336"/>
            <a:ext cx="4038600" cy="4495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8DFD3DB-6378-49B0-924A-0C588CD552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7374" y="1430336"/>
            <a:ext cx="4686300" cy="452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4412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N_az7DFE4P2UQQalM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gmsuPQIyxSNN0Qnyo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bjornsson\AppData\Local\Temp\Templafy\PowerPointVsto\Assets\56a6f892ca44b8450c5c7a98_lo.png"/>
</p:tagLst>
</file>

<file path=ppt/theme/theme1.xml><?xml version="1.0" encoding="utf-8"?>
<a:theme xmlns:a="http://schemas.openxmlformats.org/drawingml/2006/main" name="Default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b" anchorCtr="0">
        <a:noAutofit/>
      </a:bodyPr>
      <a:lstStyle>
        <a:defPPr algn="l">
          <a:defRPr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Theme" id="{88D2E305-F2AE-4168-9C8C-D78013E06924}" vid="{6FB9D1ED-596C-4446-AAB8-E75BCFF1F9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41</TotalTime>
  <Words>81</Words>
  <Application>Microsoft Office PowerPoint</Application>
  <PresentationFormat>Widescreen</PresentationFormat>
  <Paragraphs>4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Verdana</vt:lpstr>
      <vt:lpstr>Wingdings 2</vt:lpstr>
      <vt:lpstr>Default Theme</vt:lpstr>
      <vt:lpstr>think-cell Slide</vt:lpstr>
      <vt:lpstr>Microservices from the ground up</vt:lpstr>
      <vt:lpstr>Agenda</vt:lpstr>
      <vt:lpstr>Microservices</vt:lpstr>
      <vt:lpstr>PowerPoint Presentation</vt:lpstr>
      <vt:lpstr>Terraform – Instead of using the GUI</vt:lpstr>
      <vt:lpstr>Terraform – Instead of using the GUI</vt:lpstr>
      <vt:lpstr>Terraform – Instead of using the GUI</vt:lpstr>
      <vt:lpstr>Terraform – Instead of using the GU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óhann Björn Björnsson</dc:creator>
  <cp:lastModifiedBy>Jóhann Björn Björnsson</cp:lastModifiedBy>
  <cp:revision>4</cp:revision>
  <dcterms:created xsi:type="dcterms:W3CDTF">2022-05-05T08:26:31Z</dcterms:created>
  <dcterms:modified xsi:type="dcterms:W3CDTF">2022-06-07T01:2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5-05T08:26:3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e6086207-cd18-4759-a8bb-385b8a787648</vt:lpwstr>
  </property>
  <property fmtid="{D5CDD505-2E9C-101B-9397-08002B2CF9AE}" pid="8" name="MSIP_Label_ea60d57e-af5b-4752-ac57-3e4f28ca11dc_ContentBits">
    <vt:lpwstr>0</vt:lpwstr>
  </property>
</Properties>
</file>